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3" r:id="rId1"/>
  </p:sldMasterIdLst>
  <p:notesMasterIdLst>
    <p:notesMasterId r:id="rId17"/>
  </p:notesMasterIdLst>
  <p:sldIdLst>
    <p:sldId id="393" r:id="rId2"/>
    <p:sldId id="265" r:id="rId3"/>
    <p:sldId id="382" r:id="rId4"/>
    <p:sldId id="384" r:id="rId5"/>
    <p:sldId id="404" r:id="rId6"/>
    <p:sldId id="405" r:id="rId7"/>
    <p:sldId id="383" r:id="rId8"/>
    <p:sldId id="385" r:id="rId9"/>
    <p:sldId id="406" r:id="rId10"/>
    <p:sldId id="408" r:id="rId11"/>
    <p:sldId id="409" r:id="rId12"/>
    <p:sldId id="410" r:id="rId13"/>
    <p:sldId id="403" r:id="rId14"/>
    <p:sldId id="407" r:id="rId15"/>
    <p:sldId id="394" r:id="rId16"/>
  </p:sldIdLst>
  <p:sldSz cx="12192000" cy="6858000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838" autoAdjust="0"/>
    <p:restoredTop sz="78978" autoAdjust="0"/>
  </p:normalViewPr>
  <p:slideViewPr>
    <p:cSldViewPr snapToGrid="0">
      <p:cViewPr varScale="1">
        <p:scale>
          <a:sx n="63" d="100"/>
          <a:sy n="63" d="100"/>
        </p:scale>
        <p:origin x="1387" y="77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B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AABA571-E4C4-46FA-BCB4-F91B90E09927}" type="datetimeFigureOut">
              <a:rPr lang="nl-BE" smtClean="0"/>
              <a:t>12/12/2023</a:t>
            </a:fld>
            <a:endParaRPr lang="nl-B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B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B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70F6258-B281-49EC-9D26-DA5F2F7B4208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812337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8.svg"/><Relationship Id="rId4" Type="http://schemas.openxmlformats.org/officeDocument/2006/relationships/image" Target="../media/image17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8.svg"/><Relationship Id="rId4" Type="http://schemas.openxmlformats.org/officeDocument/2006/relationships/image" Target="../media/image17.pn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526E4462-5B2D-43A4-9836-48526B6DECB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11043962" y="-333831"/>
            <a:ext cx="1976529" cy="85471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>
            <a:off x="660207" y="2038350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493682" y="5447542"/>
            <a:ext cx="2038111" cy="972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798821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_Table of Content - 4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C7FC2D5-D9E3-473F-A8C6-B31EEF67DF3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1260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C7FC2D5-D9E3-473F-A8C6-B31EEF67DF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5F707CC9-8CF8-44D2-93B4-181A7099C479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DC59A54C-02E1-4A74-82E4-B0708FDBC116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B91E60E0-1FC2-4982-A642-AD169632EED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9117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9" name="Tijdelijke aanduiding voor tekst 6">
            <a:extLst>
              <a:ext uri="{FF2B5EF4-FFF2-40B4-BE49-F238E27FC236}">
                <a16:creationId xmlns:a16="http://schemas.microsoft.com/office/drawing/2014/main" id="{1C2BBB1D-61A6-4D19-957B-C932CB58F3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89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0" name="Tijdelijke aanduiding voor tekst 6">
            <a:extLst>
              <a:ext uri="{FF2B5EF4-FFF2-40B4-BE49-F238E27FC236}">
                <a16:creationId xmlns:a16="http://schemas.microsoft.com/office/drawing/2014/main" id="{B09DD24D-7E0B-4D1B-AD33-39719705CF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2200680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12" name="Tijdelijke aanduiding voor tekst 6">
            <a:extLst>
              <a:ext uri="{FF2B5EF4-FFF2-40B4-BE49-F238E27FC236}">
                <a16:creationId xmlns:a16="http://schemas.microsoft.com/office/drawing/2014/main" id="{FA8DCC83-98AE-468C-90E2-741B3EFB183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219847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3" name="Tijdelijke aanduiding voor tekst 6">
            <a:extLst>
              <a:ext uri="{FF2B5EF4-FFF2-40B4-BE49-F238E27FC236}">
                <a16:creationId xmlns:a16="http://schemas.microsoft.com/office/drawing/2014/main" id="{7035A987-E466-41FB-A891-10D3752211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710186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15" name="Tijdelijke aanduiding voor tekst 6">
            <a:extLst>
              <a:ext uri="{FF2B5EF4-FFF2-40B4-BE49-F238E27FC236}">
                <a16:creationId xmlns:a16="http://schemas.microsoft.com/office/drawing/2014/main" id="{AB680C88-024B-424F-8EE2-ED41778815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707976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6" name="Tijdelijke aanduiding voor tekst 6">
            <a:extLst>
              <a:ext uri="{FF2B5EF4-FFF2-40B4-BE49-F238E27FC236}">
                <a16:creationId xmlns:a16="http://schemas.microsoft.com/office/drawing/2014/main" id="{38D45C65-C2E6-4C24-AA31-3DA161DEF5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5219693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18" name="Tijdelijke aanduiding voor tekst 6">
            <a:extLst>
              <a:ext uri="{FF2B5EF4-FFF2-40B4-BE49-F238E27FC236}">
                <a16:creationId xmlns:a16="http://schemas.microsoft.com/office/drawing/2014/main" id="{B570384C-4A71-4DA5-B91E-0F075C20025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5217483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A0C511C7-96B3-409B-A041-8C044BC883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49751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_Table of Content - 5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D97D345-4962-4F7E-A5F5-274B1BF3AA8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3590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D97D345-4962-4F7E-A5F5-274B1BF3AA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76CD5684-C2E6-4D89-B49C-8683F82B7AAC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5" name="Vrije vorm: vorm 14">
            <a:extLst>
              <a:ext uri="{FF2B5EF4-FFF2-40B4-BE49-F238E27FC236}">
                <a16:creationId xmlns:a16="http://schemas.microsoft.com/office/drawing/2014/main" id="{148FA715-82B0-43C1-8939-9D262E2BB787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9" name="Tijdelijke aanduiding voor tekst 6">
            <a:extLst>
              <a:ext uri="{FF2B5EF4-FFF2-40B4-BE49-F238E27FC236}">
                <a16:creationId xmlns:a16="http://schemas.microsoft.com/office/drawing/2014/main" id="{4DF14E8A-3E8B-4EDA-B767-F706F57904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6989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21" name="Tijdelijke aanduiding voor tekst 6">
            <a:extLst>
              <a:ext uri="{FF2B5EF4-FFF2-40B4-BE49-F238E27FC236}">
                <a16:creationId xmlns:a16="http://schemas.microsoft.com/office/drawing/2014/main" id="{0C122310-07A2-4803-A0F0-51718B05A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789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A1D757A3-6F6A-4927-A411-C148132591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191553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F696F097-32D7-48C2-82E1-6D1A99BAC1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928759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5" name="Tijdelijke aanduiding voor tekst 6">
            <a:extLst>
              <a:ext uri="{FF2B5EF4-FFF2-40B4-BE49-F238E27FC236}">
                <a16:creationId xmlns:a16="http://schemas.microsoft.com/office/drawing/2014/main" id="{11DBE0EE-24F8-41A6-ABB9-DE0D5621B5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16116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27" name="Tijdelijke aanduiding voor tekst 6">
            <a:extLst>
              <a:ext uri="{FF2B5EF4-FFF2-40B4-BE49-F238E27FC236}">
                <a16:creationId xmlns:a16="http://schemas.microsoft.com/office/drawing/2014/main" id="{68B23351-618B-46E5-AEA9-062EDBCFD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169627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8" name="Tijdelijke aanduiding voor tekst 6">
            <a:extLst>
              <a:ext uri="{FF2B5EF4-FFF2-40B4-BE49-F238E27FC236}">
                <a16:creationId xmlns:a16="http://schemas.microsoft.com/office/drawing/2014/main" id="{AD1464DB-4D63-46FE-84A3-9F20F7D8F0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440680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30" name="Tijdelijke aanduiding voor tekst 6">
            <a:extLst>
              <a:ext uri="{FF2B5EF4-FFF2-40B4-BE49-F238E27FC236}">
                <a16:creationId xmlns:a16="http://schemas.microsoft.com/office/drawing/2014/main" id="{99A3893D-C7DC-4646-BB9E-6B7C635BD2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4410495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1" name="Tijdelijke aanduiding voor tekst 6">
            <a:extLst>
              <a:ext uri="{FF2B5EF4-FFF2-40B4-BE49-F238E27FC236}">
                <a16:creationId xmlns:a16="http://schemas.microsoft.com/office/drawing/2014/main" id="{54704A45-1EF0-484F-B81D-2409AB67CF8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13600" y="5652438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33" name="Tijdelijke aanduiding voor tekst 6">
            <a:extLst>
              <a:ext uri="{FF2B5EF4-FFF2-40B4-BE49-F238E27FC236}">
                <a16:creationId xmlns:a16="http://schemas.microsoft.com/office/drawing/2014/main" id="{80D1DD23-69C4-4F3F-9241-CA358336F8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56513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0" name="Titel 1">
            <a:extLst>
              <a:ext uri="{FF2B5EF4-FFF2-40B4-BE49-F238E27FC236}">
                <a16:creationId xmlns:a16="http://schemas.microsoft.com/office/drawing/2014/main" id="{0888842D-915C-4706-A238-F52B943030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86813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_Table of Content - 6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F292C25-C9F4-4555-BCBE-9E956597F4B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86400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F292C25-C9F4-4555-BCBE-9E956597F4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hoek 15">
            <a:extLst>
              <a:ext uri="{FF2B5EF4-FFF2-40B4-BE49-F238E27FC236}">
                <a16:creationId xmlns:a16="http://schemas.microsoft.com/office/drawing/2014/main" id="{CE4302FF-B4C8-4D37-B296-F48B7B0A1E48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C88F13C7-8F91-4C5C-A916-DE8BEA02EB81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34" name="Tijdelijke aanduiding voor tekst 6">
            <a:extLst>
              <a:ext uri="{FF2B5EF4-FFF2-40B4-BE49-F238E27FC236}">
                <a16:creationId xmlns:a16="http://schemas.microsoft.com/office/drawing/2014/main" id="{09D6A89B-BA0C-4DA1-A3DE-F6AC65D411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5400" y="66065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36" name="Tijdelijke aanduiding voor tekst 6">
            <a:extLst>
              <a:ext uri="{FF2B5EF4-FFF2-40B4-BE49-F238E27FC236}">
                <a16:creationId xmlns:a16="http://schemas.microsoft.com/office/drawing/2014/main" id="{5F2A2271-6BD1-4339-BFB3-F6D3DE71D09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6493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7" name="Tijdelijke aanduiding voor tekst 6">
            <a:extLst>
              <a:ext uri="{FF2B5EF4-FFF2-40B4-BE49-F238E27FC236}">
                <a16:creationId xmlns:a16="http://schemas.microsoft.com/office/drawing/2014/main" id="{36B5A4FB-5A48-4A04-BCFD-9124FD65C7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05400" y="1647962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41" name="Tijdelijke aanduiding voor tekst 6">
            <a:extLst>
              <a:ext uri="{FF2B5EF4-FFF2-40B4-BE49-F238E27FC236}">
                <a16:creationId xmlns:a16="http://schemas.microsoft.com/office/drawing/2014/main" id="{CCF525E0-4544-4557-94D1-DEAECA0CE1F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652238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2" name="Tijdelijke aanduiding voor tekst 6">
            <a:extLst>
              <a:ext uri="{FF2B5EF4-FFF2-40B4-BE49-F238E27FC236}">
                <a16:creationId xmlns:a16="http://schemas.microsoft.com/office/drawing/2014/main" id="{E39F519A-E318-4B7C-AA10-89A1C07582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05400" y="2635267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44" name="Tijdelijke aanduiding voor tekst 6">
            <a:extLst>
              <a:ext uri="{FF2B5EF4-FFF2-40B4-BE49-F238E27FC236}">
                <a16:creationId xmlns:a16="http://schemas.microsoft.com/office/drawing/2014/main" id="{C58ECB0F-D94D-4807-A4FA-4F16FD02FF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639543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5" name="Tijdelijke aanduiding voor tekst 6">
            <a:extLst>
              <a:ext uri="{FF2B5EF4-FFF2-40B4-BE49-F238E27FC236}">
                <a16:creationId xmlns:a16="http://schemas.microsoft.com/office/drawing/2014/main" id="{5EB21555-45D5-4F9F-B3B6-DE4D053CD9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5400" y="3622571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1A14E9FB-857B-4A6C-82D5-B4F4043C50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3626847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D299575F-C84E-45E2-B0E1-9A31D37169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05400" y="4609874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50" name="Tijdelijke aanduiding voor tekst 6">
            <a:extLst>
              <a:ext uri="{FF2B5EF4-FFF2-40B4-BE49-F238E27FC236}">
                <a16:creationId xmlns:a16="http://schemas.microsoft.com/office/drawing/2014/main" id="{4BD24427-9FCE-4492-9657-31165F1F6A1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4614150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51" name="Tijdelijke aanduiding voor tekst 6">
            <a:extLst>
              <a:ext uri="{FF2B5EF4-FFF2-40B4-BE49-F238E27FC236}">
                <a16:creationId xmlns:a16="http://schemas.microsoft.com/office/drawing/2014/main" id="{672D32A3-A2E3-46E2-9F9B-FA9AD3E3A8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5400" y="559717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6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A3423D5C-41B9-4A4A-8A8D-EF1D5CD431B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6000" y="560145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C4DDB331-9356-48D2-83A6-956567F529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87838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_Table of Content - 4 option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7E482F4-6C4E-4672-B9BE-FCF484C0A4E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8452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7E482F4-6C4E-4672-B9BE-FCF484C0A4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74A94802-ABCB-4693-B6BB-6BA1B3823344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2FF8BBAB-9E59-42B5-8223-87DDFA334CD0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B91E60E0-1FC2-4982-A642-AD169632EED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9117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9" name="Tijdelijke aanduiding voor tekst 6">
            <a:extLst>
              <a:ext uri="{FF2B5EF4-FFF2-40B4-BE49-F238E27FC236}">
                <a16:creationId xmlns:a16="http://schemas.microsoft.com/office/drawing/2014/main" id="{1C2BBB1D-61A6-4D19-957B-C932CB58F3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89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0" name="Tijdelijke aanduiding voor tekst 6">
            <a:extLst>
              <a:ext uri="{FF2B5EF4-FFF2-40B4-BE49-F238E27FC236}">
                <a16:creationId xmlns:a16="http://schemas.microsoft.com/office/drawing/2014/main" id="{B09DD24D-7E0B-4D1B-AD33-39719705CF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2200680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12" name="Tijdelijke aanduiding voor tekst 6">
            <a:extLst>
              <a:ext uri="{FF2B5EF4-FFF2-40B4-BE49-F238E27FC236}">
                <a16:creationId xmlns:a16="http://schemas.microsoft.com/office/drawing/2014/main" id="{FA8DCC83-98AE-468C-90E2-741B3EFB183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219847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3" name="Tijdelijke aanduiding voor tekst 6">
            <a:extLst>
              <a:ext uri="{FF2B5EF4-FFF2-40B4-BE49-F238E27FC236}">
                <a16:creationId xmlns:a16="http://schemas.microsoft.com/office/drawing/2014/main" id="{7035A987-E466-41FB-A891-10D3752211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710186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15" name="Tijdelijke aanduiding voor tekst 6">
            <a:extLst>
              <a:ext uri="{FF2B5EF4-FFF2-40B4-BE49-F238E27FC236}">
                <a16:creationId xmlns:a16="http://schemas.microsoft.com/office/drawing/2014/main" id="{AB680C88-024B-424F-8EE2-ED41778815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707976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6" name="Tijdelijke aanduiding voor tekst 6">
            <a:extLst>
              <a:ext uri="{FF2B5EF4-FFF2-40B4-BE49-F238E27FC236}">
                <a16:creationId xmlns:a16="http://schemas.microsoft.com/office/drawing/2014/main" id="{38D45C65-C2E6-4C24-AA31-3DA161DEF5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5219693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18" name="Tijdelijke aanduiding voor tekst 6">
            <a:extLst>
              <a:ext uri="{FF2B5EF4-FFF2-40B4-BE49-F238E27FC236}">
                <a16:creationId xmlns:a16="http://schemas.microsoft.com/office/drawing/2014/main" id="{B570384C-4A71-4DA5-B91E-0F075C20025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5217483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A0C511C7-96B3-409B-A041-8C044BC883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51536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_Table of Content - 5 option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599A0EF-4D88-4718-B39E-D6F618274A5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4777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599A0EF-4D88-4718-B39E-D6F618274A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B811AA18-1656-43EE-BA32-2FB90475C8B6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5" name="Vrije vorm: vorm 14">
            <a:extLst>
              <a:ext uri="{FF2B5EF4-FFF2-40B4-BE49-F238E27FC236}">
                <a16:creationId xmlns:a16="http://schemas.microsoft.com/office/drawing/2014/main" id="{F9D31045-6744-4BD0-AFA1-B78E79FAAA15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9" name="Tijdelijke aanduiding voor tekst 6">
            <a:extLst>
              <a:ext uri="{FF2B5EF4-FFF2-40B4-BE49-F238E27FC236}">
                <a16:creationId xmlns:a16="http://schemas.microsoft.com/office/drawing/2014/main" id="{4DF14E8A-3E8B-4EDA-B767-F706F57904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6989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21" name="Tijdelijke aanduiding voor tekst 6">
            <a:extLst>
              <a:ext uri="{FF2B5EF4-FFF2-40B4-BE49-F238E27FC236}">
                <a16:creationId xmlns:a16="http://schemas.microsoft.com/office/drawing/2014/main" id="{0C122310-07A2-4803-A0F0-51718B05A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789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A1D757A3-6F6A-4927-A411-C148132591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191553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F696F097-32D7-48C2-82E1-6D1A99BAC1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928759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5" name="Tijdelijke aanduiding voor tekst 6">
            <a:extLst>
              <a:ext uri="{FF2B5EF4-FFF2-40B4-BE49-F238E27FC236}">
                <a16:creationId xmlns:a16="http://schemas.microsoft.com/office/drawing/2014/main" id="{11DBE0EE-24F8-41A6-ABB9-DE0D5621B5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16116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27" name="Tijdelijke aanduiding voor tekst 6">
            <a:extLst>
              <a:ext uri="{FF2B5EF4-FFF2-40B4-BE49-F238E27FC236}">
                <a16:creationId xmlns:a16="http://schemas.microsoft.com/office/drawing/2014/main" id="{68B23351-618B-46E5-AEA9-062EDBCFD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169627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8" name="Tijdelijke aanduiding voor tekst 6">
            <a:extLst>
              <a:ext uri="{FF2B5EF4-FFF2-40B4-BE49-F238E27FC236}">
                <a16:creationId xmlns:a16="http://schemas.microsoft.com/office/drawing/2014/main" id="{AD1464DB-4D63-46FE-84A3-9F20F7D8F0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440680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30" name="Tijdelijke aanduiding voor tekst 6">
            <a:extLst>
              <a:ext uri="{FF2B5EF4-FFF2-40B4-BE49-F238E27FC236}">
                <a16:creationId xmlns:a16="http://schemas.microsoft.com/office/drawing/2014/main" id="{99A3893D-C7DC-4646-BB9E-6B7C635BD2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4410495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1" name="Tijdelijke aanduiding voor tekst 6">
            <a:extLst>
              <a:ext uri="{FF2B5EF4-FFF2-40B4-BE49-F238E27FC236}">
                <a16:creationId xmlns:a16="http://schemas.microsoft.com/office/drawing/2014/main" id="{54704A45-1EF0-484F-B81D-2409AB67CF8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13600" y="5652438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33" name="Tijdelijke aanduiding voor tekst 6">
            <a:extLst>
              <a:ext uri="{FF2B5EF4-FFF2-40B4-BE49-F238E27FC236}">
                <a16:creationId xmlns:a16="http://schemas.microsoft.com/office/drawing/2014/main" id="{80D1DD23-69C4-4F3F-9241-CA358336F8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56513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0" name="Titel 1">
            <a:extLst>
              <a:ext uri="{FF2B5EF4-FFF2-40B4-BE49-F238E27FC236}">
                <a16:creationId xmlns:a16="http://schemas.microsoft.com/office/drawing/2014/main" id="{0888842D-915C-4706-A238-F52B943030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06729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_Table of Content - 6 option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794E4B2-A3DD-429A-9CE5-91DE4FAFD0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26961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794E4B2-A3DD-429A-9CE5-91DE4FAFD0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hoek 15">
            <a:extLst>
              <a:ext uri="{FF2B5EF4-FFF2-40B4-BE49-F238E27FC236}">
                <a16:creationId xmlns:a16="http://schemas.microsoft.com/office/drawing/2014/main" id="{5CA179D3-E01C-43D9-B806-74C5BB2554A6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1EEB5305-9005-42E8-B481-2C021299C7E6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34" name="Tijdelijke aanduiding voor tekst 6">
            <a:extLst>
              <a:ext uri="{FF2B5EF4-FFF2-40B4-BE49-F238E27FC236}">
                <a16:creationId xmlns:a16="http://schemas.microsoft.com/office/drawing/2014/main" id="{09D6A89B-BA0C-4DA1-A3DE-F6AC65D411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5400" y="66065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36" name="Tijdelijke aanduiding voor tekst 6">
            <a:extLst>
              <a:ext uri="{FF2B5EF4-FFF2-40B4-BE49-F238E27FC236}">
                <a16:creationId xmlns:a16="http://schemas.microsoft.com/office/drawing/2014/main" id="{5F2A2271-6BD1-4339-BFB3-F6D3DE71D09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6493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7" name="Tijdelijke aanduiding voor tekst 6">
            <a:extLst>
              <a:ext uri="{FF2B5EF4-FFF2-40B4-BE49-F238E27FC236}">
                <a16:creationId xmlns:a16="http://schemas.microsoft.com/office/drawing/2014/main" id="{36B5A4FB-5A48-4A04-BCFD-9124FD65C7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05400" y="1647962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41" name="Tijdelijke aanduiding voor tekst 6">
            <a:extLst>
              <a:ext uri="{FF2B5EF4-FFF2-40B4-BE49-F238E27FC236}">
                <a16:creationId xmlns:a16="http://schemas.microsoft.com/office/drawing/2014/main" id="{CCF525E0-4544-4557-94D1-DEAECA0CE1F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652238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2" name="Tijdelijke aanduiding voor tekst 6">
            <a:extLst>
              <a:ext uri="{FF2B5EF4-FFF2-40B4-BE49-F238E27FC236}">
                <a16:creationId xmlns:a16="http://schemas.microsoft.com/office/drawing/2014/main" id="{E39F519A-E318-4B7C-AA10-89A1C07582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05400" y="2635267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44" name="Tijdelijke aanduiding voor tekst 6">
            <a:extLst>
              <a:ext uri="{FF2B5EF4-FFF2-40B4-BE49-F238E27FC236}">
                <a16:creationId xmlns:a16="http://schemas.microsoft.com/office/drawing/2014/main" id="{C58ECB0F-D94D-4807-A4FA-4F16FD02FF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639543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5" name="Tijdelijke aanduiding voor tekst 6">
            <a:extLst>
              <a:ext uri="{FF2B5EF4-FFF2-40B4-BE49-F238E27FC236}">
                <a16:creationId xmlns:a16="http://schemas.microsoft.com/office/drawing/2014/main" id="{5EB21555-45D5-4F9F-B3B6-DE4D053CD9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5400" y="3622571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1A14E9FB-857B-4A6C-82D5-B4F4043C50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3626847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D299575F-C84E-45E2-B0E1-9A31D37169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05400" y="4609874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50" name="Tijdelijke aanduiding voor tekst 6">
            <a:extLst>
              <a:ext uri="{FF2B5EF4-FFF2-40B4-BE49-F238E27FC236}">
                <a16:creationId xmlns:a16="http://schemas.microsoft.com/office/drawing/2014/main" id="{4BD24427-9FCE-4492-9657-31165F1F6A1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4614150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51" name="Tijdelijke aanduiding voor tekst 6">
            <a:extLst>
              <a:ext uri="{FF2B5EF4-FFF2-40B4-BE49-F238E27FC236}">
                <a16:creationId xmlns:a16="http://schemas.microsoft.com/office/drawing/2014/main" id="{672D32A3-A2E3-46E2-9F9B-FA9AD3E3A8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5400" y="559717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6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A3423D5C-41B9-4A4A-8A8D-EF1D5CD431B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6000" y="560145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C4DDB331-9356-48D2-83A6-956567F529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71837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afbeelding 3">
            <a:extLst>
              <a:ext uri="{FF2B5EF4-FFF2-40B4-BE49-F238E27FC236}">
                <a16:creationId xmlns:a16="http://schemas.microsoft.com/office/drawing/2014/main" id="{2533A85A-2FC9-45B2-8CDF-E90C40448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E95E788A-50AD-4514-BC54-028050507FD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618413" y="327025"/>
            <a:ext cx="6192837" cy="6210300"/>
          </a:xfrm>
          <a:blipFill dpi="0" rotWithShape="1">
            <a:blip r:embed="rId2">
              <a:alphaModFix amt="75000"/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jdelijke aanduiding voor tekst 12">
            <a:extLst>
              <a:ext uri="{FF2B5EF4-FFF2-40B4-BE49-F238E27FC236}">
                <a16:creationId xmlns:a16="http://schemas.microsoft.com/office/drawing/2014/main" id="{FE22822F-BD4D-4845-B708-F45C72C53F3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0" y="3873500"/>
            <a:ext cx="4573588" cy="2382838"/>
          </a:xfrm>
          <a:blipFill dpi="0" rotWithShape="1">
            <a:blip r:embed="rId4">
              <a:alphaModFix amt="75000"/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4C45A95E-C2CC-46EA-8568-0359F1713A24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id="{BBC9316F-DE19-4F7B-9FF8-4D388DEC6454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7" name="Tekstvak 6">
            <a:extLst>
              <a:ext uri="{FF2B5EF4-FFF2-40B4-BE49-F238E27FC236}">
                <a16:creationId xmlns:a16="http://schemas.microsoft.com/office/drawing/2014/main" id="{0AFBC154-7F41-44D5-92DE-6E27A149AAF7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9" name="Groep 8">
            <a:extLst>
              <a:ext uri="{FF2B5EF4-FFF2-40B4-BE49-F238E27FC236}">
                <a16:creationId xmlns:a16="http://schemas.microsoft.com/office/drawing/2014/main" id="{819669DF-D7E3-4D77-82E4-9C2DBBA706BE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8564E26F-4A2E-4FBC-8126-6BCDD3E8B78C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1" name="Gelijkbenige driehoek 128">
              <a:extLst>
                <a:ext uri="{FF2B5EF4-FFF2-40B4-BE49-F238E27FC236}">
                  <a16:creationId xmlns:a16="http://schemas.microsoft.com/office/drawing/2014/main" id="{65C2DE8C-DE7D-4ECB-B620-D2B5F2DA75AC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2" name="Ovaal 11">
              <a:extLst>
                <a:ext uri="{FF2B5EF4-FFF2-40B4-BE49-F238E27FC236}">
                  <a16:creationId xmlns:a16="http://schemas.microsoft.com/office/drawing/2014/main" id="{93D33FAC-9D2E-4EB4-8480-982449AF26F5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10806B96-CA59-44C7-AADC-1D22BE410F71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5" name="Rechte verbindingslijn 14">
              <a:extLst>
                <a:ext uri="{FF2B5EF4-FFF2-40B4-BE49-F238E27FC236}">
                  <a16:creationId xmlns:a16="http://schemas.microsoft.com/office/drawing/2014/main" id="{C15C0B59-108B-42A3-8EAD-ED68CC63916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6" name="Tekstvak 15">
            <a:extLst>
              <a:ext uri="{FF2B5EF4-FFF2-40B4-BE49-F238E27FC236}">
                <a16:creationId xmlns:a16="http://schemas.microsoft.com/office/drawing/2014/main" id="{B0BDFA73-D4D7-4F7C-BB1F-DF3660CA56D2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7" name="Tekstvak 16">
            <a:extLst>
              <a:ext uri="{FF2B5EF4-FFF2-40B4-BE49-F238E27FC236}">
                <a16:creationId xmlns:a16="http://schemas.microsoft.com/office/drawing/2014/main" id="{AB41DFDC-C49A-41E6-8174-6F7883D84782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8" name="Groep 17">
            <a:extLst>
              <a:ext uri="{FF2B5EF4-FFF2-40B4-BE49-F238E27FC236}">
                <a16:creationId xmlns:a16="http://schemas.microsoft.com/office/drawing/2014/main" id="{53CED02E-F453-4DCC-B3A9-0FA96161F370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424BD2CC-5F42-44A9-A65F-7A879310DACD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0" name="Groep 19">
              <a:extLst>
                <a:ext uri="{FF2B5EF4-FFF2-40B4-BE49-F238E27FC236}">
                  <a16:creationId xmlns:a16="http://schemas.microsoft.com/office/drawing/2014/main" id="{08A9A0F5-E6C5-4C2F-B50C-7EEB86B35629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29" name="Rechthoek 28">
                <a:extLst>
                  <a:ext uri="{FF2B5EF4-FFF2-40B4-BE49-F238E27FC236}">
                    <a16:creationId xmlns:a16="http://schemas.microsoft.com/office/drawing/2014/main" id="{01E6F482-6501-4474-B9EC-10B4ABF4652A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63C49633-9AE5-4A08-B118-78992F6D3840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3BE7E48A-0398-45B0-A5B0-5BBE930298B2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AB404A70-F92C-4418-8441-0538B0315BB3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305AC270-A727-4B0B-B713-1200D780F5BB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A672539A-60CC-49CC-9828-DCC8CE5DC326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E5EEC206-3BAE-4711-B315-F72A2FB9DBE0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1" name="Groep 20">
              <a:extLst>
                <a:ext uri="{FF2B5EF4-FFF2-40B4-BE49-F238E27FC236}">
                  <a16:creationId xmlns:a16="http://schemas.microsoft.com/office/drawing/2014/main" id="{F7C2539D-CEB9-440B-BC0B-D83699ED6A5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2" name="Rechthoek 21">
                <a:extLst>
                  <a:ext uri="{FF2B5EF4-FFF2-40B4-BE49-F238E27FC236}">
                    <a16:creationId xmlns:a16="http://schemas.microsoft.com/office/drawing/2014/main" id="{FF67400B-144E-4D86-9B27-EC178C5EDC7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3" name="Rechthoek 22">
                <a:extLst>
                  <a:ext uri="{FF2B5EF4-FFF2-40B4-BE49-F238E27FC236}">
                    <a16:creationId xmlns:a16="http://schemas.microsoft.com/office/drawing/2014/main" id="{FE42F680-A181-4DE7-83A4-3A85435AF4F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4" name="Rechthoek 23">
                <a:extLst>
                  <a:ext uri="{FF2B5EF4-FFF2-40B4-BE49-F238E27FC236}">
                    <a16:creationId xmlns:a16="http://schemas.microsoft.com/office/drawing/2014/main" id="{9DD07A1E-492C-48A5-9EC6-7A16D8FC79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5" name="Rechthoek 24">
                <a:extLst>
                  <a:ext uri="{FF2B5EF4-FFF2-40B4-BE49-F238E27FC236}">
                    <a16:creationId xmlns:a16="http://schemas.microsoft.com/office/drawing/2014/main" id="{AC2773C3-A17A-4D3A-BAD5-5A379A5F2784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7FD2B9CF-86FB-420B-82C4-CAEC746FABA2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4C129854-2A20-4740-885B-43DF2BA3803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E49A6CDE-592B-4894-AE4A-0A755A4B890A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36" name="Tekstvak 35">
            <a:extLst>
              <a:ext uri="{FF2B5EF4-FFF2-40B4-BE49-F238E27FC236}">
                <a16:creationId xmlns:a16="http://schemas.microsoft.com/office/drawing/2014/main" id="{C6AE7F32-77BE-4B68-B9DE-8E3C6C9B4D09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</p:spTree>
    <p:extLst>
      <p:ext uri="{BB962C8B-B14F-4D97-AF65-F5344CB8AC3E}">
        <p14:creationId xmlns:p14="http://schemas.microsoft.com/office/powerpoint/2010/main" val="350030976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afbeelding 3">
            <a:extLst>
              <a:ext uri="{FF2B5EF4-FFF2-40B4-BE49-F238E27FC236}">
                <a16:creationId xmlns:a16="http://schemas.microsoft.com/office/drawing/2014/main" id="{2533A85A-2FC9-45B2-8CDF-E90C40448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E95E788A-50AD-4514-BC54-028050507FD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618413" y="327025"/>
            <a:ext cx="6192837" cy="6210300"/>
          </a:xfrm>
          <a:blipFill dpi="0" rotWithShape="1">
            <a:blip r:embed="rId2">
              <a:alphaModFix amt="75000"/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jdelijke aanduiding voor tekst 12">
            <a:extLst>
              <a:ext uri="{FF2B5EF4-FFF2-40B4-BE49-F238E27FC236}">
                <a16:creationId xmlns:a16="http://schemas.microsoft.com/office/drawing/2014/main" id="{FE22822F-BD4D-4845-B708-F45C72C53F3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0" y="3873500"/>
            <a:ext cx="4573588" cy="2382838"/>
          </a:xfrm>
          <a:blipFill dpi="0" rotWithShape="1">
            <a:blip r:embed="rId4">
              <a:alphaModFix amt="75000"/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4C45A95E-C2CC-46EA-8568-0359F1713A24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id="{BBC9316F-DE19-4F7B-9FF8-4D388DEC6454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7" name="Tekstvak 6">
            <a:extLst>
              <a:ext uri="{FF2B5EF4-FFF2-40B4-BE49-F238E27FC236}">
                <a16:creationId xmlns:a16="http://schemas.microsoft.com/office/drawing/2014/main" id="{0AFBC154-7F41-44D5-92DE-6E27A149AAF7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9" name="Groep 8">
            <a:extLst>
              <a:ext uri="{FF2B5EF4-FFF2-40B4-BE49-F238E27FC236}">
                <a16:creationId xmlns:a16="http://schemas.microsoft.com/office/drawing/2014/main" id="{819669DF-D7E3-4D77-82E4-9C2DBBA706BE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8564E26F-4A2E-4FBC-8126-6BCDD3E8B78C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1" name="Gelijkbenige driehoek 128">
              <a:extLst>
                <a:ext uri="{FF2B5EF4-FFF2-40B4-BE49-F238E27FC236}">
                  <a16:creationId xmlns:a16="http://schemas.microsoft.com/office/drawing/2014/main" id="{65C2DE8C-DE7D-4ECB-B620-D2B5F2DA75AC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2" name="Ovaal 11">
              <a:extLst>
                <a:ext uri="{FF2B5EF4-FFF2-40B4-BE49-F238E27FC236}">
                  <a16:creationId xmlns:a16="http://schemas.microsoft.com/office/drawing/2014/main" id="{93D33FAC-9D2E-4EB4-8480-982449AF26F5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10806B96-CA59-44C7-AADC-1D22BE410F71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5" name="Rechte verbindingslijn 14">
              <a:extLst>
                <a:ext uri="{FF2B5EF4-FFF2-40B4-BE49-F238E27FC236}">
                  <a16:creationId xmlns:a16="http://schemas.microsoft.com/office/drawing/2014/main" id="{C15C0B59-108B-42A3-8EAD-ED68CC63916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6" name="Tekstvak 15">
            <a:extLst>
              <a:ext uri="{FF2B5EF4-FFF2-40B4-BE49-F238E27FC236}">
                <a16:creationId xmlns:a16="http://schemas.microsoft.com/office/drawing/2014/main" id="{B0BDFA73-D4D7-4F7C-BB1F-DF3660CA56D2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7" name="Tekstvak 16">
            <a:extLst>
              <a:ext uri="{FF2B5EF4-FFF2-40B4-BE49-F238E27FC236}">
                <a16:creationId xmlns:a16="http://schemas.microsoft.com/office/drawing/2014/main" id="{AB41DFDC-C49A-41E6-8174-6F7883D84782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8" name="Groep 17">
            <a:extLst>
              <a:ext uri="{FF2B5EF4-FFF2-40B4-BE49-F238E27FC236}">
                <a16:creationId xmlns:a16="http://schemas.microsoft.com/office/drawing/2014/main" id="{53CED02E-F453-4DCC-B3A9-0FA96161F370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424BD2CC-5F42-44A9-A65F-7A879310DACD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0" name="Groep 19">
              <a:extLst>
                <a:ext uri="{FF2B5EF4-FFF2-40B4-BE49-F238E27FC236}">
                  <a16:creationId xmlns:a16="http://schemas.microsoft.com/office/drawing/2014/main" id="{08A9A0F5-E6C5-4C2F-B50C-7EEB86B35629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29" name="Rechthoek 28">
                <a:extLst>
                  <a:ext uri="{FF2B5EF4-FFF2-40B4-BE49-F238E27FC236}">
                    <a16:creationId xmlns:a16="http://schemas.microsoft.com/office/drawing/2014/main" id="{01E6F482-6501-4474-B9EC-10B4ABF4652A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63C49633-9AE5-4A08-B118-78992F6D3840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3BE7E48A-0398-45B0-A5B0-5BBE930298B2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AB404A70-F92C-4418-8441-0538B0315BB3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305AC270-A727-4B0B-B713-1200D780F5BB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A672539A-60CC-49CC-9828-DCC8CE5DC326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E5EEC206-3BAE-4711-B315-F72A2FB9DBE0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1" name="Groep 20">
              <a:extLst>
                <a:ext uri="{FF2B5EF4-FFF2-40B4-BE49-F238E27FC236}">
                  <a16:creationId xmlns:a16="http://schemas.microsoft.com/office/drawing/2014/main" id="{F7C2539D-CEB9-440B-BC0B-D83699ED6A5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2" name="Rechthoek 21">
                <a:extLst>
                  <a:ext uri="{FF2B5EF4-FFF2-40B4-BE49-F238E27FC236}">
                    <a16:creationId xmlns:a16="http://schemas.microsoft.com/office/drawing/2014/main" id="{FF67400B-144E-4D86-9B27-EC178C5EDC7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3" name="Rechthoek 22">
                <a:extLst>
                  <a:ext uri="{FF2B5EF4-FFF2-40B4-BE49-F238E27FC236}">
                    <a16:creationId xmlns:a16="http://schemas.microsoft.com/office/drawing/2014/main" id="{FE42F680-A181-4DE7-83A4-3A85435AF4F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4" name="Rechthoek 23">
                <a:extLst>
                  <a:ext uri="{FF2B5EF4-FFF2-40B4-BE49-F238E27FC236}">
                    <a16:creationId xmlns:a16="http://schemas.microsoft.com/office/drawing/2014/main" id="{9DD07A1E-492C-48A5-9EC6-7A16D8FC79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5" name="Rechthoek 24">
                <a:extLst>
                  <a:ext uri="{FF2B5EF4-FFF2-40B4-BE49-F238E27FC236}">
                    <a16:creationId xmlns:a16="http://schemas.microsoft.com/office/drawing/2014/main" id="{AC2773C3-A17A-4D3A-BAD5-5A379A5F2784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7FD2B9CF-86FB-420B-82C4-CAEC746FABA2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4C129854-2A20-4740-885B-43DF2BA3803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E49A6CDE-592B-4894-AE4A-0A755A4B890A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36" name="Tekstvak 35">
            <a:extLst>
              <a:ext uri="{FF2B5EF4-FFF2-40B4-BE49-F238E27FC236}">
                <a16:creationId xmlns:a16="http://schemas.microsoft.com/office/drawing/2014/main" id="{C6AE7F32-77BE-4B68-B9DE-8E3C6C9B4D09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7" name="Titel 1">
            <a:extLst>
              <a:ext uri="{FF2B5EF4-FFF2-40B4-BE49-F238E27FC236}">
                <a16:creationId xmlns:a16="http://schemas.microsoft.com/office/drawing/2014/main" id="{C8BC8CF9-FA7C-4544-A54D-F44E028326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94575" y="1796607"/>
            <a:ext cx="10002850" cy="3546454"/>
          </a:xfrm>
        </p:spPr>
        <p:txBody>
          <a:bodyPr anchor="ctr">
            <a:normAutofit/>
          </a:bodyPr>
          <a:lstStyle>
            <a:lvl1pPr algn="ctr">
              <a:defRPr sz="6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3555977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94575" y="1796607"/>
            <a:ext cx="10002850" cy="3546454"/>
          </a:xfrm>
        </p:spPr>
        <p:txBody>
          <a:bodyPr anchor="ctr">
            <a:normAutofit/>
          </a:bodyPr>
          <a:lstStyle>
            <a:lvl1pPr algn="ctr">
              <a:defRPr sz="6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grpSp>
        <p:nvGrpSpPr>
          <p:cNvPr id="5" name="Groep 4">
            <a:extLst>
              <a:ext uri="{FF2B5EF4-FFF2-40B4-BE49-F238E27FC236}">
                <a16:creationId xmlns:a16="http://schemas.microsoft.com/office/drawing/2014/main" id="{384BECF5-53E0-4E37-A2FD-4FADC16ED0E7}"/>
              </a:ext>
            </a:extLst>
          </p:cNvPr>
          <p:cNvGrpSpPr/>
          <p:nvPr/>
        </p:nvGrpSpPr>
        <p:grpSpPr>
          <a:xfrm>
            <a:off x="1094575" y="1023520"/>
            <a:ext cx="531586" cy="773087"/>
            <a:chOff x="2454442" y="-2952785"/>
            <a:chExt cx="1732547" cy="2519648"/>
          </a:xfrm>
        </p:grpSpPr>
        <p:sp>
          <p:nvSpPr>
            <p:cNvPr id="4" name="Ovaal 3">
              <a:extLst>
                <a:ext uri="{FF2B5EF4-FFF2-40B4-BE49-F238E27FC236}">
                  <a16:creationId xmlns:a16="http://schemas.microsoft.com/office/drawing/2014/main" id="{1FD1A683-AC9F-4D9B-911F-D563439442EA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B0E219F1-4B1E-4B96-B178-3A95476D3A3F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  <p:grpSp>
        <p:nvGrpSpPr>
          <p:cNvPr id="9" name="Groep 8">
            <a:extLst>
              <a:ext uri="{FF2B5EF4-FFF2-40B4-BE49-F238E27FC236}">
                <a16:creationId xmlns:a16="http://schemas.microsoft.com/office/drawing/2014/main" id="{60CFD971-2A05-45CC-A0AB-0444E44BF3B9}"/>
              </a:ext>
            </a:extLst>
          </p:cNvPr>
          <p:cNvGrpSpPr/>
          <p:nvPr/>
        </p:nvGrpSpPr>
        <p:grpSpPr>
          <a:xfrm>
            <a:off x="1690733" y="1023520"/>
            <a:ext cx="531586" cy="773087"/>
            <a:chOff x="2454442" y="-2952785"/>
            <a:chExt cx="1732547" cy="2519648"/>
          </a:xfrm>
        </p:grpSpPr>
        <p:sp>
          <p:nvSpPr>
            <p:cNvPr id="11" name="Ovaal 10">
              <a:extLst>
                <a:ext uri="{FF2B5EF4-FFF2-40B4-BE49-F238E27FC236}">
                  <a16:creationId xmlns:a16="http://schemas.microsoft.com/office/drawing/2014/main" id="{B69F4864-4BF5-4942-979C-BB35A3A6E6CE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D62331D1-0A42-401C-9504-E8CAD678C004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  <p:grpSp>
        <p:nvGrpSpPr>
          <p:cNvPr id="19" name="Groep 18">
            <a:extLst>
              <a:ext uri="{FF2B5EF4-FFF2-40B4-BE49-F238E27FC236}">
                <a16:creationId xmlns:a16="http://schemas.microsoft.com/office/drawing/2014/main" id="{16FDBB5D-B5ED-426A-9A8F-1B88526E57AF}"/>
              </a:ext>
            </a:extLst>
          </p:cNvPr>
          <p:cNvGrpSpPr/>
          <p:nvPr/>
        </p:nvGrpSpPr>
        <p:grpSpPr>
          <a:xfrm rot="10800000">
            <a:off x="9969681" y="5101560"/>
            <a:ext cx="531586" cy="773087"/>
            <a:chOff x="2454442" y="-2952785"/>
            <a:chExt cx="1732547" cy="2519648"/>
          </a:xfrm>
        </p:grpSpPr>
        <p:sp>
          <p:nvSpPr>
            <p:cNvPr id="20" name="Ovaal 19">
              <a:extLst>
                <a:ext uri="{FF2B5EF4-FFF2-40B4-BE49-F238E27FC236}">
                  <a16:creationId xmlns:a16="http://schemas.microsoft.com/office/drawing/2014/main" id="{835B65F9-201C-4194-8AD5-08E04775D194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1" name="Rechthoek 20">
              <a:extLst>
                <a:ext uri="{FF2B5EF4-FFF2-40B4-BE49-F238E27FC236}">
                  <a16:creationId xmlns:a16="http://schemas.microsoft.com/office/drawing/2014/main" id="{558631D9-427E-4740-8713-DB7F718CE615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  <p:grpSp>
        <p:nvGrpSpPr>
          <p:cNvPr id="22" name="Groep 21">
            <a:extLst>
              <a:ext uri="{FF2B5EF4-FFF2-40B4-BE49-F238E27FC236}">
                <a16:creationId xmlns:a16="http://schemas.microsoft.com/office/drawing/2014/main" id="{3B7D35E9-F615-4E7F-BEAF-23F733506A1A}"/>
              </a:ext>
            </a:extLst>
          </p:cNvPr>
          <p:cNvGrpSpPr/>
          <p:nvPr/>
        </p:nvGrpSpPr>
        <p:grpSpPr>
          <a:xfrm rot="10800000">
            <a:off x="10565839" y="5101560"/>
            <a:ext cx="531586" cy="773087"/>
            <a:chOff x="2454442" y="-2952785"/>
            <a:chExt cx="1732547" cy="2519648"/>
          </a:xfrm>
        </p:grpSpPr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C504B5E6-19FB-4DC9-9A16-DB90184C8556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06B985C3-453D-47A3-AA54-361E2653BCAE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18665560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694E7DFD-9748-436D-AFF6-A500368439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4" name="Tijdelijke aanduiding voor voettekst 33">
            <a:extLst>
              <a:ext uri="{FF2B5EF4-FFF2-40B4-BE49-F238E27FC236}">
                <a16:creationId xmlns:a16="http://schemas.microsoft.com/office/drawing/2014/main" id="{5DDF9C03-4951-4166-A8F6-3E70A70AF31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</a:p>
        </p:txBody>
      </p:sp>
      <p:sp>
        <p:nvSpPr>
          <p:cNvPr id="35" name="Tijdelijke aanduiding voor dianummer 34">
            <a:extLst>
              <a:ext uri="{FF2B5EF4-FFF2-40B4-BE49-F238E27FC236}">
                <a16:creationId xmlns:a16="http://schemas.microsoft.com/office/drawing/2014/main" id="{77DDBD2A-AEC8-484D-BEA1-859A95B283D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873188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W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11043962" y="-333831"/>
            <a:ext cx="1976529" cy="85471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>
            <a:off x="660207" y="2038350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9493682" y="5447542"/>
            <a:ext cx="2038111" cy="97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513604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F25D3B4E-A54E-457D-8993-34E4AD67B23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246317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_Lap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3225AFBF-F52A-49C8-B0CD-DF61A26CB1E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5005" y="1473072"/>
            <a:ext cx="9901989" cy="508871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8" name="Tijdelijke aanduiding voor afbeelding 7">
            <a:extLst>
              <a:ext uri="{FF2B5EF4-FFF2-40B4-BE49-F238E27FC236}">
                <a16:creationId xmlns:a16="http://schemas.microsoft.com/office/drawing/2014/main" id="{97EA2B5F-3320-4048-A85F-884DB5155CD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116720" y="1676350"/>
            <a:ext cx="7953712" cy="4511675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5449327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_Laptop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C7F96CD-2764-450F-AA30-67B24BB8745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8673"/>
          <a:stretch/>
        </p:blipFill>
        <p:spPr>
          <a:xfrm>
            <a:off x="0" y="1489416"/>
            <a:ext cx="6420704" cy="5087798"/>
          </a:xfrm>
          <a:prstGeom prst="rect">
            <a:avLst/>
          </a:prstGeom>
        </p:spPr>
      </p:pic>
      <p:sp>
        <p:nvSpPr>
          <p:cNvPr id="8" name="Tijdelijke aanduiding voor afbeelding 7">
            <a:extLst>
              <a:ext uri="{FF2B5EF4-FFF2-40B4-BE49-F238E27FC236}">
                <a16:creationId xmlns:a16="http://schemas.microsoft.com/office/drawing/2014/main" id="{97EA2B5F-3320-4048-A85F-884DB5155CD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1689325"/>
            <a:ext cx="5418636" cy="4511675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Tijdelijke aanduiding voor inhoud 2">
            <a:extLst>
              <a:ext uri="{FF2B5EF4-FFF2-40B4-BE49-F238E27FC236}">
                <a16:creationId xmlns:a16="http://schemas.microsoft.com/office/drawing/2014/main" id="{C975905F-291D-41F4-9D20-E9836EEEE51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0" y="1457011"/>
            <a:ext cx="5257800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3592183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_Tab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hoek 8">
            <a:extLst>
              <a:ext uri="{FF2B5EF4-FFF2-40B4-BE49-F238E27FC236}">
                <a16:creationId xmlns:a16="http://schemas.microsoft.com/office/drawing/2014/main" id="{97A6CC3C-00A7-481A-8B6F-8235AD2C90F4}"/>
              </a:ext>
            </a:extLst>
          </p:cNvPr>
          <p:cNvSpPr/>
          <p:nvPr/>
        </p:nvSpPr>
        <p:spPr>
          <a:xfrm rot="6016460">
            <a:off x="584673" y="1723641"/>
            <a:ext cx="1467460" cy="6345777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3853F8D9-64D3-450A-AC91-52966B910B8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5400000">
            <a:off x="3737284" y="588008"/>
            <a:ext cx="4717431" cy="6858000"/>
          </a:xfrm>
          <a:prstGeom prst="rect">
            <a:avLst/>
          </a:prstGeom>
        </p:spPr>
      </p:pic>
      <p:sp>
        <p:nvSpPr>
          <p:cNvPr id="10" name="Tijdelijke aanduiding voor afbeelding 7">
            <a:extLst>
              <a:ext uri="{FF2B5EF4-FFF2-40B4-BE49-F238E27FC236}">
                <a16:creationId xmlns:a16="http://schemas.microsoft.com/office/drawing/2014/main" id="{3B70AD41-2802-48D5-9D0D-573AD63EBDB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821073" y="1852863"/>
            <a:ext cx="6551528" cy="4331553"/>
          </a:xfrm>
          <a:prstGeom prst="roundRect">
            <a:avLst>
              <a:gd name="adj" fmla="val 8612"/>
            </a:avLst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6232640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694E7DFD-9748-436D-AFF6-A500368439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1"/>
            <a:ext cx="5070231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Tijdelijke aanduiding voor inhoud 2">
            <a:extLst>
              <a:ext uri="{FF2B5EF4-FFF2-40B4-BE49-F238E27FC236}">
                <a16:creationId xmlns:a16="http://schemas.microsoft.com/office/drawing/2014/main" id="{49B3BEF7-3220-4C7E-A8E8-F0E0AEDAECD9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283569" y="1457011"/>
            <a:ext cx="5070231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E6702665-F588-4708-9642-2BE1BD30BF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B38C7D42-B46F-43A2-B25F-3194F2371A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3837851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jdelijke aanduiding voor tekst 3">
            <a:extLst>
              <a:ext uri="{FF2B5EF4-FFF2-40B4-BE49-F238E27FC236}">
                <a16:creationId xmlns:a16="http://schemas.microsoft.com/office/drawing/2014/main" id="{4721C80A-4146-4B4E-B6F1-6BD31C89D0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200" y="3367077"/>
            <a:ext cx="3397250" cy="1858113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6" name="Tijdelijke aanduiding voor afbeelding 14">
            <a:extLst>
              <a:ext uri="{FF2B5EF4-FFF2-40B4-BE49-F238E27FC236}">
                <a16:creationId xmlns:a16="http://schemas.microsoft.com/office/drawing/2014/main" id="{B270BD3D-D644-487E-95D4-E6E989838DCB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2084802" y="2358033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7" name="Tijdelijke aanduiding voor tekst 3">
            <a:extLst>
              <a:ext uri="{FF2B5EF4-FFF2-40B4-BE49-F238E27FC236}">
                <a16:creationId xmlns:a16="http://schemas.microsoft.com/office/drawing/2014/main" id="{F8D0FABD-11FD-446C-BB12-993BC56A89C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402613" y="3367077"/>
            <a:ext cx="3397250" cy="1858113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8" name="Tijdelijke aanduiding voor afbeelding 14">
            <a:extLst>
              <a:ext uri="{FF2B5EF4-FFF2-40B4-BE49-F238E27FC236}">
                <a16:creationId xmlns:a16="http://schemas.microsoft.com/office/drawing/2014/main" id="{C8CDFCB2-1365-455F-8EC0-769BDA39F5BC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5649215" y="2358033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9" name="Tijdelijke aanduiding voor tekst 3">
            <a:extLst>
              <a:ext uri="{FF2B5EF4-FFF2-40B4-BE49-F238E27FC236}">
                <a16:creationId xmlns:a16="http://schemas.microsoft.com/office/drawing/2014/main" id="{FEC90EB4-569C-4A1B-87DE-40734E1F8E3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967026" y="3367077"/>
            <a:ext cx="3397250" cy="1858113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20" name="Tijdelijke aanduiding voor afbeelding 14">
            <a:extLst>
              <a:ext uri="{FF2B5EF4-FFF2-40B4-BE49-F238E27FC236}">
                <a16:creationId xmlns:a16="http://schemas.microsoft.com/office/drawing/2014/main" id="{4DD2E1FC-778E-427A-81C1-D71076F6A77C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9213628" y="2358033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B95E17B-E737-4096-99C9-0451D1BF8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340D5EB6-FBA0-4EA7-ACF6-D6C74608F9A7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8DB8D380-677B-4067-B9EA-06265661870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2" name="Tekstvak 11">
            <a:extLst>
              <a:ext uri="{FF2B5EF4-FFF2-40B4-BE49-F238E27FC236}">
                <a16:creationId xmlns:a16="http://schemas.microsoft.com/office/drawing/2014/main" id="{468C8959-23F6-4F96-A2A1-8F78D91D4C8D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3" name="Groep 12">
            <a:extLst>
              <a:ext uri="{FF2B5EF4-FFF2-40B4-BE49-F238E27FC236}">
                <a16:creationId xmlns:a16="http://schemas.microsoft.com/office/drawing/2014/main" id="{EB065485-B5A1-436A-AB30-54425CB945D5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00BA605C-C823-4D84-9841-C64CD09A43F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2" name="Gelijkbenige driehoek 128">
              <a:extLst>
                <a:ext uri="{FF2B5EF4-FFF2-40B4-BE49-F238E27FC236}">
                  <a16:creationId xmlns:a16="http://schemas.microsoft.com/office/drawing/2014/main" id="{E12DA186-BD6A-44A5-ADC2-75EA3069D2E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613B1191-9A6D-49EF-B404-E07DB981F804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9280CCBD-226E-4C5C-8F78-EF8564DE5BC0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25" name="Rechte verbindingslijn 24">
              <a:extLst>
                <a:ext uri="{FF2B5EF4-FFF2-40B4-BE49-F238E27FC236}">
                  <a16:creationId xmlns:a16="http://schemas.microsoft.com/office/drawing/2014/main" id="{56523900-8DEC-4BBF-B9EB-8F75D5CB6EA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6" name="Tekstvak 25">
            <a:extLst>
              <a:ext uri="{FF2B5EF4-FFF2-40B4-BE49-F238E27FC236}">
                <a16:creationId xmlns:a16="http://schemas.microsoft.com/office/drawing/2014/main" id="{EDC5C693-428B-41C3-8FB6-AEBB257420DD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7" name="Tekstvak 26">
            <a:extLst>
              <a:ext uri="{FF2B5EF4-FFF2-40B4-BE49-F238E27FC236}">
                <a16:creationId xmlns:a16="http://schemas.microsoft.com/office/drawing/2014/main" id="{CA8390E2-F185-4784-A39C-01C03DC40878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8" name="Groep 27">
            <a:extLst>
              <a:ext uri="{FF2B5EF4-FFF2-40B4-BE49-F238E27FC236}">
                <a16:creationId xmlns:a16="http://schemas.microsoft.com/office/drawing/2014/main" id="{037D01ED-004D-40CF-BADB-28147A11D67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9" name="Rechthoek 28">
              <a:extLst>
                <a:ext uri="{FF2B5EF4-FFF2-40B4-BE49-F238E27FC236}">
                  <a16:creationId xmlns:a16="http://schemas.microsoft.com/office/drawing/2014/main" id="{6BE87C36-7656-4DD7-87D4-EFAF504677F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30" name="Groep 29">
              <a:extLst>
                <a:ext uri="{FF2B5EF4-FFF2-40B4-BE49-F238E27FC236}">
                  <a16:creationId xmlns:a16="http://schemas.microsoft.com/office/drawing/2014/main" id="{F087791E-66F8-42C1-87ED-30D079539B01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8B5E8616-C8AB-4EC8-85FF-BE85055BEFB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F02B6429-D8EE-4EB5-BF26-CD0FB5A9A9E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25F2EE1C-C904-43AF-A415-25D9800C3E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F8259500-AA88-4666-9B83-1274922BD7AD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37C64C96-971F-49B0-8FDE-E9D4729200A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4" name="Rechthoek 43">
                <a:extLst>
                  <a:ext uri="{FF2B5EF4-FFF2-40B4-BE49-F238E27FC236}">
                    <a16:creationId xmlns:a16="http://schemas.microsoft.com/office/drawing/2014/main" id="{8CAF722A-5C45-470E-9379-BEC2BFA1306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5" name="Rechthoek 44">
                <a:extLst>
                  <a:ext uri="{FF2B5EF4-FFF2-40B4-BE49-F238E27FC236}">
                    <a16:creationId xmlns:a16="http://schemas.microsoft.com/office/drawing/2014/main" id="{744D17F6-3CEC-49D5-8B2A-1B00913BEB7D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31" name="Groep 30">
              <a:extLst>
                <a:ext uri="{FF2B5EF4-FFF2-40B4-BE49-F238E27FC236}">
                  <a16:creationId xmlns:a16="http://schemas.microsoft.com/office/drawing/2014/main" id="{EFE574FC-96FC-428C-9483-1F371D9A0A9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245EF99-9947-488F-9EED-09E3F52FCBA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0E5E601F-31FC-4034-A283-58BAFF99605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0545EC63-EC85-4C99-8D56-0EE44089A0B1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F03A67E0-C029-49B8-9913-D003231CD6CA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6" name="Rechthoek 35">
                <a:extLst>
                  <a:ext uri="{FF2B5EF4-FFF2-40B4-BE49-F238E27FC236}">
                    <a16:creationId xmlns:a16="http://schemas.microsoft.com/office/drawing/2014/main" id="{313FB65C-37DC-49CF-B5E4-01F4D55A9E0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48B9E082-D3FC-4741-83E7-43560004D29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CD3CBAC3-04E2-4B52-A3BD-FD5B876ACB54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6" name="Tekstvak 45">
            <a:extLst>
              <a:ext uri="{FF2B5EF4-FFF2-40B4-BE49-F238E27FC236}">
                <a16:creationId xmlns:a16="http://schemas.microsoft.com/office/drawing/2014/main" id="{C693B104-527C-4E84-83C7-DB4DDE482DDC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FC90C2C1-DDED-4C58-967D-A8278F1C04A7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56AC55C-1262-4599-9A1B-E49598629140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6B1E8691-7399-49D0-9AE6-FB4346EE2A3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 rot="5400000">
            <a:off x="2806463" y="3694154"/>
            <a:ext cx="30132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EBC2D348-238B-4490-BD89-4C2A5A6B5907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 rot="5400000">
            <a:off x="6382813" y="3694154"/>
            <a:ext cx="30132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6876269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jdelijke aanduiding voor tekst 3">
            <a:extLst>
              <a:ext uri="{FF2B5EF4-FFF2-40B4-BE49-F238E27FC236}">
                <a16:creationId xmlns:a16="http://schemas.microsoft.com/office/drawing/2014/main" id="{4721C80A-4146-4B4E-B6F1-6BD31C89D0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200" y="2651729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6" name="Tijdelijke aanduiding voor afbeelding 14">
            <a:extLst>
              <a:ext uri="{FF2B5EF4-FFF2-40B4-BE49-F238E27FC236}">
                <a16:creationId xmlns:a16="http://schemas.microsoft.com/office/drawing/2014/main" id="{B270BD3D-D644-487E-95D4-E6E989838DCB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2084802" y="1594334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7" name="Tijdelijke aanduiding voor tekst 3">
            <a:extLst>
              <a:ext uri="{FF2B5EF4-FFF2-40B4-BE49-F238E27FC236}">
                <a16:creationId xmlns:a16="http://schemas.microsoft.com/office/drawing/2014/main" id="{F8D0FABD-11FD-446C-BB12-993BC56A89C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402613" y="2651729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8" name="Tijdelijke aanduiding voor afbeelding 14">
            <a:extLst>
              <a:ext uri="{FF2B5EF4-FFF2-40B4-BE49-F238E27FC236}">
                <a16:creationId xmlns:a16="http://schemas.microsoft.com/office/drawing/2014/main" id="{C8CDFCB2-1365-455F-8EC0-769BDA39F5BC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5649215" y="1594334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9" name="Tijdelijke aanduiding voor tekst 3">
            <a:extLst>
              <a:ext uri="{FF2B5EF4-FFF2-40B4-BE49-F238E27FC236}">
                <a16:creationId xmlns:a16="http://schemas.microsoft.com/office/drawing/2014/main" id="{FEC90EB4-569C-4A1B-87DE-40734E1F8E3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967026" y="2651729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20" name="Tijdelijke aanduiding voor afbeelding 14">
            <a:extLst>
              <a:ext uri="{FF2B5EF4-FFF2-40B4-BE49-F238E27FC236}">
                <a16:creationId xmlns:a16="http://schemas.microsoft.com/office/drawing/2014/main" id="{4DD2E1FC-778E-427A-81C1-D71076F6A77C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9213628" y="1594334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B95E17B-E737-4096-99C9-0451D1BF8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340D5EB6-FBA0-4EA7-ACF6-D6C74608F9A7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8DB8D380-677B-4067-B9EA-06265661870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2" name="Tekstvak 11">
            <a:extLst>
              <a:ext uri="{FF2B5EF4-FFF2-40B4-BE49-F238E27FC236}">
                <a16:creationId xmlns:a16="http://schemas.microsoft.com/office/drawing/2014/main" id="{468C8959-23F6-4F96-A2A1-8F78D91D4C8D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3" name="Groep 12">
            <a:extLst>
              <a:ext uri="{FF2B5EF4-FFF2-40B4-BE49-F238E27FC236}">
                <a16:creationId xmlns:a16="http://schemas.microsoft.com/office/drawing/2014/main" id="{EB065485-B5A1-436A-AB30-54425CB945D5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00BA605C-C823-4D84-9841-C64CD09A43F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2" name="Gelijkbenige driehoek 128">
              <a:extLst>
                <a:ext uri="{FF2B5EF4-FFF2-40B4-BE49-F238E27FC236}">
                  <a16:creationId xmlns:a16="http://schemas.microsoft.com/office/drawing/2014/main" id="{E12DA186-BD6A-44A5-ADC2-75EA3069D2E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613B1191-9A6D-49EF-B404-E07DB981F804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9280CCBD-226E-4C5C-8F78-EF8564DE5BC0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25" name="Rechte verbindingslijn 24">
              <a:extLst>
                <a:ext uri="{FF2B5EF4-FFF2-40B4-BE49-F238E27FC236}">
                  <a16:creationId xmlns:a16="http://schemas.microsoft.com/office/drawing/2014/main" id="{56523900-8DEC-4BBF-B9EB-8F75D5CB6EA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6" name="Tekstvak 25">
            <a:extLst>
              <a:ext uri="{FF2B5EF4-FFF2-40B4-BE49-F238E27FC236}">
                <a16:creationId xmlns:a16="http://schemas.microsoft.com/office/drawing/2014/main" id="{EDC5C693-428B-41C3-8FB6-AEBB257420DD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7" name="Tekstvak 26">
            <a:extLst>
              <a:ext uri="{FF2B5EF4-FFF2-40B4-BE49-F238E27FC236}">
                <a16:creationId xmlns:a16="http://schemas.microsoft.com/office/drawing/2014/main" id="{CA8390E2-F185-4784-A39C-01C03DC40878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8" name="Groep 27">
            <a:extLst>
              <a:ext uri="{FF2B5EF4-FFF2-40B4-BE49-F238E27FC236}">
                <a16:creationId xmlns:a16="http://schemas.microsoft.com/office/drawing/2014/main" id="{037D01ED-004D-40CF-BADB-28147A11D67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9" name="Rechthoek 28">
              <a:extLst>
                <a:ext uri="{FF2B5EF4-FFF2-40B4-BE49-F238E27FC236}">
                  <a16:creationId xmlns:a16="http://schemas.microsoft.com/office/drawing/2014/main" id="{6BE87C36-7656-4DD7-87D4-EFAF504677F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30" name="Groep 29">
              <a:extLst>
                <a:ext uri="{FF2B5EF4-FFF2-40B4-BE49-F238E27FC236}">
                  <a16:creationId xmlns:a16="http://schemas.microsoft.com/office/drawing/2014/main" id="{F087791E-66F8-42C1-87ED-30D079539B01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8B5E8616-C8AB-4EC8-85FF-BE85055BEFB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F02B6429-D8EE-4EB5-BF26-CD0FB5A9A9E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25F2EE1C-C904-43AF-A415-25D9800C3E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F8259500-AA88-4666-9B83-1274922BD7AD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37C64C96-971F-49B0-8FDE-E9D4729200A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4" name="Rechthoek 43">
                <a:extLst>
                  <a:ext uri="{FF2B5EF4-FFF2-40B4-BE49-F238E27FC236}">
                    <a16:creationId xmlns:a16="http://schemas.microsoft.com/office/drawing/2014/main" id="{8CAF722A-5C45-470E-9379-BEC2BFA1306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5" name="Rechthoek 44">
                <a:extLst>
                  <a:ext uri="{FF2B5EF4-FFF2-40B4-BE49-F238E27FC236}">
                    <a16:creationId xmlns:a16="http://schemas.microsoft.com/office/drawing/2014/main" id="{744D17F6-3CEC-49D5-8B2A-1B00913BEB7D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31" name="Groep 30">
              <a:extLst>
                <a:ext uri="{FF2B5EF4-FFF2-40B4-BE49-F238E27FC236}">
                  <a16:creationId xmlns:a16="http://schemas.microsoft.com/office/drawing/2014/main" id="{EFE574FC-96FC-428C-9483-1F371D9A0A9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245EF99-9947-488F-9EED-09E3F52FCBA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0E5E601F-31FC-4034-A283-58BAFF99605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0545EC63-EC85-4C99-8D56-0EE44089A0B1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F03A67E0-C029-49B8-9913-D003231CD6CA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6" name="Rechthoek 35">
                <a:extLst>
                  <a:ext uri="{FF2B5EF4-FFF2-40B4-BE49-F238E27FC236}">
                    <a16:creationId xmlns:a16="http://schemas.microsoft.com/office/drawing/2014/main" id="{313FB65C-37DC-49CF-B5E4-01F4D55A9E0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48B9E082-D3FC-4741-83E7-43560004D29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CD3CBAC3-04E2-4B52-A3BD-FD5B876ACB54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6" name="Tekstvak 45">
            <a:extLst>
              <a:ext uri="{FF2B5EF4-FFF2-40B4-BE49-F238E27FC236}">
                <a16:creationId xmlns:a16="http://schemas.microsoft.com/office/drawing/2014/main" id="{C693B104-527C-4E84-83C7-DB4DDE482DDC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FC90C2C1-DDED-4C58-967D-A8278F1C04A7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56AC55C-1262-4599-9A1B-E49598629140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7" name="Tijdelijke aanduiding voor tekst 3">
            <a:extLst>
              <a:ext uri="{FF2B5EF4-FFF2-40B4-BE49-F238E27FC236}">
                <a16:creationId xmlns:a16="http://schemas.microsoft.com/office/drawing/2014/main" id="{1DF1C92D-FD08-4482-8F41-EA3FC515818C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838200" y="5006114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48" name="Tijdelijke aanduiding voor afbeelding 14">
            <a:extLst>
              <a:ext uri="{FF2B5EF4-FFF2-40B4-BE49-F238E27FC236}">
                <a16:creationId xmlns:a16="http://schemas.microsoft.com/office/drawing/2014/main" id="{C17446A0-1544-44A5-8E99-2C973E21CD02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2084802" y="3948719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49" name="Tijdelijke aanduiding voor tekst 3">
            <a:extLst>
              <a:ext uri="{FF2B5EF4-FFF2-40B4-BE49-F238E27FC236}">
                <a16:creationId xmlns:a16="http://schemas.microsoft.com/office/drawing/2014/main" id="{FC38250E-3176-4A8F-B2CE-EF88457E075E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4402613" y="5006114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50" name="Tijdelijke aanduiding voor afbeelding 14">
            <a:extLst>
              <a:ext uri="{FF2B5EF4-FFF2-40B4-BE49-F238E27FC236}">
                <a16:creationId xmlns:a16="http://schemas.microsoft.com/office/drawing/2014/main" id="{6435E2B5-9F52-480C-BE4F-71B56CE519B4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649215" y="3948719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51" name="Tijdelijke aanduiding voor tekst 3">
            <a:extLst>
              <a:ext uri="{FF2B5EF4-FFF2-40B4-BE49-F238E27FC236}">
                <a16:creationId xmlns:a16="http://schemas.microsoft.com/office/drawing/2014/main" id="{A76D1AFA-BF19-4037-A5E5-B65C31B7AC5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7967026" y="5006114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52" name="Tijdelijke aanduiding voor afbeelding 14">
            <a:extLst>
              <a:ext uri="{FF2B5EF4-FFF2-40B4-BE49-F238E27FC236}">
                <a16:creationId xmlns:a16="http://schemas.microsoft.com/office/drawing/2014/main" id="{53CC7C3C-032E-43BD-BB3C-D74EE2737788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9213628" y="3948719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800F98BF-369C-4277-8D9A-303DBB03CB0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 rot="5400000">
            <a:off x="2048329" y="3720927"/>
            <a:ext cx="45720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Tijdelijke aanduiding voor tekst 6">
            <a:extLst>
              <a:ext uri="{FF2B5EF4-FFF2-40B4-BE49-F238E27FC236}">
                <a16:creationId xmlns:a16="http://schemas.microsoft.com/office/drawing/2014/main" id="{6BCDBB89-288D-4C7B-A937-F4AFF9D21F34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 rot="5400000">
            <a:off x="5597444" y="3720927"/>
            <a:ext cx="45720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5" name="Tijdelijke aanduiding voor tekst 6">
            <a:extLst>
              <a:ext uri="{FF2B5EF4-FFF2-40B4-BE49-F238E27FC236}">
                <a16:creationId xmlns:a16="http://schemas.microsoft.com/office/drawing/2014/main" id="{60BE33B4-DA0A-48B0-A7F8-49064C4383DF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838200" y="3715100"/>
            <a:ext cx="105480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783308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750"/>
                            </p:stCondLst>
                            <p:childTnLst>
                              <p:par>
                                <p:cTn id="18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1500"/>
                            </p:stCondLst>
                            <p:childTnLst>
                              <p:par>
                                <p:cTn id="31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2250"/>
                            </p:stCondLst>
                            <p:childTnLst>
                              <p:par>
                                <p:cTn id="44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8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3000"/>
                            </p:stCondLst>
                            <p:childTnLst>
                              <p:par>
                                <p:cTn id="57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3750"/>
                            </p:stCondLst>
                            <p:childTnLst>
                              <p:par>
                                <p:cTn id="70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4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6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5" grpId="1" animBg="1"/>
      <p:bldP spid="16" grpId="0"/>
      <p:bldP spid="17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7" grpId="1" animBg="1"/>
      <p:bldP spid="18" grpId="0"/>
      <p:bldP spid="19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9" grpId="1" animBg="1"/>
      <p:bldP spid="20" grpId="0"/>
      <p:bldP spid="47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7" grpId="1" animBg="1"/>
      <p:bldP spid="48" grpId="0"/>
      <p:bldP spid="49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9" grpId="1" animBg="1"/>
      <p:bldP spid="50" grpId="0"/>
      <p:bldP spid="51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5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5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51" grpId="1" animBg="1"/>
      <p:bldP spid="52" grpId="0"/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conenslide_3_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14D55077-9C2C-4B97-86F5-DF09E316DC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90239" y="3641147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1 toe te voegen</a:t>
            </a:r>
            <a:endParaRPr lang="en-BE" dirty="0"/>
          </a:p>
        </p:txBody>
      </p:sp>
      <p:sp>
        <p:nvSpPr>
          <p:cNvPr id="16" name="Tijdelijke aanduiding voor tekst 5">
            <a:extLst>
              <a:ext uri="{FF2B5EF4-FFF2-40B4-BE49-F238E27FC236}">
                <a16:creationId xmlns:a16="http://schemas.microsoft.com/office/drawing/2014/main" id="{4E08617D-D4DF-44AA-B90A-CF03870C0FD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79613" y="3641147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2 toe te voegen</a:t>
            </a:r>
            <a:endParaRPr lang="en-BE" dirty="0"/>
          </a:p>
        </p:txBody>
      </p:sp>
      <p:sp>
        <p:nvSpPr>
          <p:cNvPr id="17" name="Tijdelijke aanduiding voor tekst 5">
            <a:extLst>
              <a:ext uri="{FF2B5EF4-FFF2-40B4-BE49-F238E27FC236}">
                <a16:creationId xmlns:a16="http://schemas.microsoft.com/office/drawing/2014/main" id="{0F472A18-073F-455F-A5E1-EE1B3FCC15F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668988" y="3641147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3 toe te voegen</a:t>
            </a:r>
            <a:endParaRPr lang="en-BE" dirty="0"/>
          </a:p>
        </p:txBody>
      </p:sp>
      <p:sp>
        <p:nvSpPr>
          <p:cNvPr id="9" name="Tijdelijke aanduiding voor SmartArt 8">
            <a:extLst>
              <a:ext uri="{FF2B5EF4-FFF2-40B4-BE49-F238E27FC236}">
                <a16:creationId xmlns:a16="http://schemas.microsoft.com/office/drawing/2014/main" id="{7EA68BE6-457C-44F1-BBED-89A509124CD4}"/>
              </a:ext>
            </a:extLst>
          </p:cNvPr>
          <p:cNvSpPr>
            <a:spLocks noGrp="1"/>
          </p:cNvSpPr>
          <p:nvPr>
            <p:ph type="dgm" sz="quarter" idx="17" hasCustomPrompt="1"/>
          </p:nvPr>
        </p:nvSpPr>
        <p:spPr>
          <a:xfrm>
            <a:off x="890588" y="2121897"/>
            <a:ext cx="1636712" cy="16367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 baseline="0"/>
            </a:lvl1pPr>
          </a:lstStyle>
          <a:p>
            <a:r>
              <a:rPr lang="en-GB" dirty="0" err="1"/>
              <a:t>Icoon</a:t>
            </a:r>
            <a:r>
              <a:rPr lang="en-GB" dirty="0"/>
              <a:t> 1</a:t>
            </a:r>
            <a:endParaRPr lang="en-BE" dirty="0"/>
          </a:p>
        </p:txBody>
      </p:sp>
      <p:sp>
        <p:nvSpPr>
          <p:cNvPr id="26" name="Tijdelijke aanduiding voor SmartArt 8">
            <a:extLst>
              <a:ext uri="{FF2B5EF4-FFF2-40B4-BE49-F238E27FC236}">
                <a16:creationId xmlns:a16="http://schemas.microsoft.com/office/drawing/2014/main" id="{20231F53-AF66-41C3-ABB3-C7460725331E}"/>
              </a:ext>
            </a:extLst>
          </p:cNvPr>
          <p:cNvSpPr>
            <a:spLocks noGrp="1"/>
          </p:cNvSpPr>
          <p:nvPr>
            <p:ph type="dgm" sz="quarter" idx="18" hasCustomPrompt="1"/>
          </p:nvPr>
        </p:nvSpPr>
        <p:spPr>
          <a:xfrm>
            <a:off x="4779613" y="2121897"/>
            <a:ext cx="1636712" cy="16367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2</a:t>
            </a:r>
            <a:endParaRPr lang="en-BE" dirty="0"/>
          </a:p>
        </p:txBody>
      </p:sp>
      <p:sp>
        <p:nvSpPr>
          <p:cNvPr id="27" name="Tijdelijke aanduiding voor SmartArt 8">
            <a:extLst>
              <a:ext uri="{FF2B5EF4-FFF2-40B4-BE49-F238E27FC236}">
                <a16:creationId xmlns:a16="http://schemas.microsoft.com/office/drawing/2014/main" id="{3C023902-C8F0-4389-87F8-8863FE2847C9}"/>
              </a:ext>
            </a:extLst>
          </p:cNvPr>
          <p:cNvSpPr>
            <a:spLocks noGrp="1"/>
          </p:cNvSpPr>
          <p:nvPr>
            <p:ph type="dgm" sz="quarter" idx="19" hasCustomPrompt="1"/>
          </p:nvPr>
        </p:nvSpPr>
        <p:spPr>
          <a:xfrm>
            <a:off x="8668639" y="2121897"/>
            <a:ext cx="1636712" cy="16367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3</a:t>
            </a:r>
            <a:endParaRPr lang="en-B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5FF061F-973B-46E1-9F05-CF9B8C9506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AEF46BFE-CDE3-4642-BA02-792065288893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788A1D2B-F104-45FD-AA41-6BCC37C2B0C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AC99B72F-0E3D-4DC7-AB27-B4A6D5F7EE6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0239" y="4907947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2FDC2CED-B505-4674-B170-D2D189C039A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779613" y="4907947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381B417B-E310-4277-947B-72D4B362309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668639" y="4907947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74761450"/>
      </p:ext>
    </p:extLst>
  </p:cSld>
  <p:clrMapOvr>
    <a:masterClrMapping/>
  </p:clrMapOvr>
  <p:transition spd="slow">
    <p:cover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orient="horz" pos="164">
          <p15:clr>
            <a:srgbClr val="FBAE40"/>
          </p15:clr>
        </p15:guide>
        <p15:guide id="4" orient="horz" pos="4156">
          <p15:clr>
            <a:srgbClr val="FBAE40"/>
          </p15:clr>
        </p15:guide>
        <p15:guide id="5" pos="167">
          <p15:clr>
            <a:srgbClr val="FBAE40"/>
          </p15:clr>
        </p15:guide>
        <p15:guide id="6" pos="7515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conenslide_4_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14D55077-9C2C-4B97-86F5-DF09E316DC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1223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1 toe te voegen</a:t>
            </a:r>
            <a:endParaRPr lang="en-BE" dirty="0"/>
          </a:p>
        </p:txBody>
      </p:sp>
      <p:sp>
        <p:nvSpPr>
          <p:cNvPr id="16" name="Tijdelijke aanduiding voor tekst 5">
            <a:extLst>
              <a:ext uri="{FF2B5EF4-FFF2-40B4-BE49-F238E27FC236}">
                <a16:creationId xmlns:a16="http://schemas.microsoft.com/office/drawing/2014/main" id="{4E08617D-D4DF-44AA-B90A-CF03870C0FD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397461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2 toe te voegen</a:t>
            </a:r>
            <a:endParaRPr lang="en-BE" dirty="0"/>
          </a:p>
        </p:txBody>
      </p:sp>
      <p:sp>
        <p:nvSpPr>
          <p:cNvPr id="17" name="Tijdelijke aanduiding voor tekst 5">
            <a:extLst>
              <a:ext uri="{FF2B5EF4-FFF2-40B4-BE49-F238E27FC236}">
                <a16:creationId xmlns:a16="http://schemas.microsoft.com/office/drawing/2014/main" id="{0F472A18-073F-455F-A5E1-EE1B3FCC15F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13699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3 toe te voegen</a:t>
            </a:r>
            <a:endParaRPr lang="en-BE" dirty="0"/>
          </a:p>
        </p:txBody>
      </p:sp>
      <p:sp>
        <p:nvSpPr>
          <p:cNvPr id="14" name="Tijdelijke aanduiding voor tekst 5">
            <a:extLst>
              <a:ext uri="{FF2B5EF4-FFF2-40B4-BE49-F238E27FC236}">
                <a16:creationId xmlns:a16="http://schemas.microsoft.com/office/drawing/2014/main" id="{441213FE-5658-4442-A2B2-CC998836986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29936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4 toe te voegen</a:t>
            </a:r>
            <a:endParaRPr lang="en-BE" dirty="0"/>
          </a:p>
        </p:txBody>
      </p:sp>
      <p:sp>
        <p:nvSpPr>
          <p:cNvPr id="25" name="Tijdelijke aanduiding voor SmartArt 8">
            <a:extLst>
              <a:ext uri="{FF2B5EF4-FFF2-40B4-BE49-F238E27FC236}">
                <a16:creationId xmlns:a16="http://schemas.microsoft.com/office/drawing/2014/main" id="{77A7708E-4C93-416F-B577-F344F26B89FE}"/>
              </a:ext>
            </a:extLst>
          </p:cNvPr>
          <p:cNvSpPr>
            <a:spLocks noGrp="1"/>
          </p:cNvSpPr>
          <p:nvPr>
            <p:ph type="dgm" sz="quarter" idx="17" hasCustomPrompt="1"/>
          </p:nvPr>
        </p:nvSpPr>
        <p:spPr>
          <a:xfrm>
            <a:off x="481223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 baseline="0"/>
            </a:lvl1pPr>
          </a:lstStyle>
          <a:p>
            <a:r>
              <a:rPr lang="en-GB" dirty="0" err="1"/>
              <a:t>Icoon</a:t>
            </a:r>
            <a:r>
              <a:rPr lang="en-GB" dirty="0"/>
              <a:t> 1</a:t>
            </a:r>
            <a:endParaRPr lang="en-BE" dirty="0"/>
          </a:p>
        </p:txBody>
      </p:sp>
      <p:sp>
        <p:nvSpPr>
          <p:cNvPr id="26" name="Tijdelijke aanduiding voor SmartArt 8">
            <a:extLst>
              <a:ext uri="{FF2B5EF4-FFF2-40B4-BE49-F238E27FC236}">
                <a16:creationId xmlns:a16="http://schemas.microsoft.com/office/drawing/2014/main" id="{90301D7C-51EF-4D1C-B3D1-362270B1ADEB}"/>
              </a:ext>
            </a:extLst>
          </p:cNvPr>
          <p:cNvSpPr>
            <a:spLocks noGrp="1"/>
          </p:cNvSpPr>
          <p:nvPr>
            <p:ph type="dgm" sz="quarter" idx="18" hasCustomPrompt="1"/>
          </p:nvPr>
        </p:nvSpPr>
        <p:spPr>
          <a:xfrm>
            <a:off x="3397461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2</a:t>
            </a:r>
            <a:endParaRPr lang="en-BE" dirty="0"/>
          </a:p>
        </p:txBody>
      </p:sp>
      <p:sp>
        <p:nvSpPr>
          <p:cNvPr id="27" name="Tijdelijke aanduiding voor SmartArt 8">
            <a:extLst>
              <a:ext uri="{FF2B5EF4-FFF2-40B4-BE49-F238E27FC236}">
                <a16:creationId xmlns:a16="http://schemas.microsoft.com/office/drawing/2014/main" id="{7B0608B4-8F8C-46DB-BC9C-8A2835A6941F}"/>
              </a:ext>
            </a:extLst>
          </p:cNvPr>
          <p:cNvSpPr>
            <a:spLocks noGrp="1"/>
          </p:cNvSpPr>
          <p:nvPr>
            <p:ph type="dgm" sz="quarter" idx="19" hasCustomPrompt="1"/>
          </p:nvPr>
        </p:nvSpPr>
        <p:spPr>
          <a:xfrm>
            <a:off x="6313697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3</a:t>
            </a:r>
            <a:endParaRPr lang="en-BE" dirty="0"/>
          </a:p>
        </p:txBody>
      </p:sp>
      <p:sp>
        <p:nvSpPr>
          <p:cNvPr id="28" name="Tijdelijke aanduiding voor SmartArt 8">
            <a:extLst>
              <a:ext uri="{FF2B5EF4-FFF2-40B4-BE49-F238E27FC236}">
                <a16:creationId xmlns:a16="http://schemas.microsoft.com/office/drawing/2014/main" id="{FF6B0AA1-8DA3-4E64-83FE-C8BB46931189}"/>
              </a:ext>
            </a:extLst>
          </p:cNvPr>
          <p:cNvSpPr>
            <a:spLocks noGrp="1"/>
          </p:cNvSpPr>
          <p:nvPr>
            <p:ph type="dgm" sz="quarter" idx="21" hasCustomPrompt="1"/>
          </p:nvPr>
        </p:nvSpPr>
        <p:spPr>
          <a:xfrm>
            <a:off x="9229935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4</a:t>
            </a:r>
            <a:endParaRPr lang="en-B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75DF763-B9D1-4272-995B-47A53DE558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D23F9B26-12F3-4A17-9E26-E105CEB657DA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7DA149E6-758D-4404-8B20-0C8C2C32DA80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58820E1A-3786-4CAD-B96A-1BC760EF6E3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81223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7BE5CD57-BE93-483F-B226-F026848287D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397461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ijdelijke aanduiding voor tekst 6">
            <a:extLst>
              <a:ext uri="{FF2B5EF4-FFF2-40B4-BE49-F238E27FC236}">
                <a16:creationId xmlns:a16="http://schemas.microsoft.com/office/drawing/2014/main" id="{3E82F6D0-80D6-4BC6-B583-C40D971A2BC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3697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ijdelijke aanduiding voor tekst 6">
            <a:extLst>
              <a:ext uri="{FF2B5EF4-FFF2-40B4-BE49-F238E27FC236}">
                <a16:creationId xmlns:a16="http://schemas.microsoft.com/office/drawing/2014/main" id="{458AAC12-4F15-4C93-B6B0-8713A40D12A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228036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38775890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/>
      <p:bldP spid="26" grpId="0"/>
      <p:bldP spid="27" grpId="0"/>
      <p:bldP spid="28" grpId="0"/>
    </p:bldLst>
  </p:timing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orient="horz" pos="164">
          <p15:clr>
            <a:srgbClr val="FBAE40"/>
          </p15:clr>
        </p15:guide>
        <p15:guide id="4" orient="horz" pos="4156">
          <p15:clr>
            <a:srgbClr val="FBAE40"/>
          </p15:clr>
        </p15:guide>
        <p15:guide id="5" pos="167">
          <p15:clr>
            <a:srgbClr val="FBAE40"/>
          </p15:clr>
        </p15:guide>
        <p15:guide id="6" pos="7515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+ imag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jdelijke aanduiding voor afbeelding 20">
            <a:extLst>
              <a:ext uri="{FF2B5EF4-FFF2-40B4-BE49-F238E27FC236}">
                <a16:creationId xmlns:a16="http://schemas.microsoft.com/office/drawing/2014/main" id="{564B005D-026A-4009-A1C9-F060099E946C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6880886" y="620268"/>
            <a:ext cx="5311115" cy="6237732"/>
          </a:xfrm>
          <a:custGeom>
            <a:avLst/>
            <a:gdLst>
              <a:gd name="connsiteX0" fmla="*/ 3479059 w 5311115"/>
              <a:gd name="connsiteY0" fmla="*/ 1657322 h 6237732"/>
              <a:gd name="connsiteX1" fmla="*/ 1657222 w 5311115"/>
              <a:gd name="connsiteY1" fmla="*/ 3479060 h 6237732"/>
              <a:gd name="connsiteX2" fmla="*/ 3479059 w 5311115"/>
              <a:gd name="connsiteY2" fmla="*/ 5300698 h 6237732"/>
              <a:gd name="connsiteX3" fmla="*/ 3479059 w 5311115"/>
              <a:gd name="connsiteY3" fmla="*/ 5300797 h 6237732"/>
              <a:gd name="connsiteX4" fmla="*/ 5300997 w 5311115"/>
              <a:gd name="connsiteY4" fmla="*/ 3479160 h 6237732"/>
              <a:gd name="connsiteX5" fmla="*/ 3479059 w 5311115"/>
              <a:gd name="connsiteY5" fmla="*/ 1657322 h 6237732"/>
              <a:gd name="connsiteX6" fmla="*/ 3479059 w 5311115"/>
              <a:gd name="connsiteY6" fmla="*/ 0 h 6237732"/>
              <a:gd name="connsiteX7" fmla="*/ 5137377 w 5311115"/>
              <a:gd name="connsiteY7" fmla="*/ 419837 h 6237732"/>
              <a:gd name="connsiteX8" fmla="*/ 5311115 w 5311115"/>
              <a:gd name="connsiteY8" fmla="*/ 525376 h 6237732"/>
              <a:gd name="connsiteX9" fmla="*/ 5311115 w 5311115"/>
              <a:gd name="connsiteY9" fmla="*/ 6237732 h 6237732"/>
              <a:gd name="connsiteX10" fmla="*/ 1365066 w 5311115"/>
              <a:gd name="connsiteY10" fmla="*/ 6237732 h 6237732"/>
              <a:gd name="connsiteX11" fmla="*/ 1265958 w 5311115"/>
              <a:gd name="connsiteY11" fmla="*/ 6163623 h 6237732"/>
              <a:gd name="connsiteX12" fmla="*/ 0 w 5311115"/>
              <a:gd name="connsiteY12" fmla="*/ 3479060 h 6237732"/>
              <a:gd name="connsiteX13" fmla="*/ 3479059 w 5311115"/>
              <a:gd name="connsiteY13" fmla="*/ 0 h 62377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311115" h="6237732">
                <a:moveTo>
                  <a:pt x="3479059" y="1657322"/>
                </a:moveTo>
                <a:cubicBezTo>
                  <a:pt x="2473306" y="1657322"/>
                  <a:pt x="1657222" y="2473006"/>
                  <a:pt x="1657222" y="3479060"/>
                </a:cubicBezTo>
                <a:cubicBezTo>
                  <a:pt x="1657222" y="4485113"/>
                  <a:pt x="2472907" y="5300698"/>
                  <a:pt x="3479059" y="5300698"/>
                </a:cubicBezTo>
                <a:lnTo>
                  <a:pt x="3479059" y="5300797"/>
                </a:lnTo>
                <a:cubicBezTo>
                  <a:pt x="4484813" y="5300797"/>
                  <a:pt x="5300997" y="4485313"/>
                  <a:pt x="5300997" y="3479160"/>
                </a:cubicBezTo>
                <a:cubicBezTo>
                  <a:pt x="5300997" y="2473006"/>
                  <a:pt x="4484813" y="1657322"/>
                  <a:pt x="3479059" y="1657322"/>
                </a:cubicBezTo>
                <a:close/>
                <a:moveTo>
                  <a:pt x="3479059" y="0"/>
                </a:moveTo>
                <a:cubicBezTo>
                  <a:pt x="4079517" y="0"/>
                  <a:pt x="4644430" y="152080"/>
                  <a:pt x="5137377" y="419837"/>
                </a:cubicBezTo>
                <a:lnTo>
                  <a:pt x="5311115" y="525376"/>
                </a:lnTo>
                <a:lnTo>
                  <a:pt x="5311115" y="6237732"/>
                </a:lnTo>
                <a:lnTo>
                  <a:pt x="1365066" y="6237732"/>
                </a:lnTo>
                <a:lnTo>
                  <a:pt x="1265958" y="6163623"/>
                </a:lnTo>
                <a:cubicBezTo>
                  <a:pt x="492770" y="5525546"/>
                  <a:pt x="0" y="4559884"/>
                  <a:pt x="0" y="3479060"/>
                </a:cubicBezTo>
                <a:cubicBezTo>
                  <a:pt x="0" y="1557596"/>
                  <a:pt x="1557495" y="0"/>
                  <a:pt x="347905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t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B95E17B-E737-4096-99C9-0451D1BF8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340D5EB6-FBA0-4EA7-ACF6-D6C74608F9A7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8DB8D380-677B-4067-B9EA-06265661870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2" name="Tekstvak 11">
            <a:extLst>
              <a:ext uri="{FF2B5EF4-FFF2-40B4-BE49-F238E27FC236}">
                <a16:creationId xmlns:a16="http://schemas.microsoft.com/office/drawing/2014/main" id="{468C8959-23F6-4F96-A2A1-8F78D91D4C8D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3" name="Groep 12">
            <a:extLst>
              <a:ext uri="{FF2B5EF4-FFF2-40B4-BE49-F238E27FC236}">
                <a16:creationId xmlns:a16="http://schemas.microsoft.com/office/drawing/2014/main" id="{EB065485-B5A1-436A-AB30-54425CB945D5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00BA605C-C823-4D84-9841-C64CD09A43F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2" name="Gelijkbenige driehoek 128">
              <a:extLst>
                <a:ext uri="{FF2B5EF4-FFF2-40B4-BE49-F238E27FC236}">
                  <a16:creationId xmlns:a16="http://schemas.microsoft.com/office/drawing/2014/main" id="{E12DA186-BD6A-44A5-ADC2-75EA3069D2E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613B1191-9A6D-49EF-B404-E07DB981F804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9280CCBD-226E-4C5C-8F78-EF8564DE5BC0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25" name="Rechte verbindingslijn 24">
              <a:extLst>
                <a:ext uri="{FF2B5EF4-FFF2-40B4-BE49-F238E27FC236}">
                  <a16:creationId xmlns:a16="http://schemas.microsoft.com/office/drawing/2014/main" id="{56523900-8DEC-4BBF-B9EB-8F75D5CB6EA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6" name="Tekstvak 25">
            <a:extLst>
              <a:ext uri="{FF2B5EF4-FFF2-40B4-BE49-F238E27FC236}">
                <a16:creationId xmlns:a16="http://schemas.microsoft.com/office/drawing/2014/main" id="{EDC5C693-428B-41C3-8FB6-AEBB257420DD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7" name="Tekstvak 26">
            <a:extLst>
              <a:ext uri="{FF2B5EF4-FFF2-40B4-BE49-F238E27FC236}">
                <a16:creationId xmlns:a16="http://schemas.microsoft.com/office/drawing/2014/main" id="{CA8390E2-F185-4784-A39C-01C03DC40878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8" name="Groep 27">
            <a:extLst>
              <a:ext uri="{FF2B5EF4-FFF2-40B4-BE49-F238E27FC236}">
                <a16:creationId xmlns:a16="http://schemas.microsoft.com/office/drawing/2014/main" id="{037D01ED-004D-40CF-BADB-28147A11D67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9" name="Rechthoek 28">
              <a:extLst>
                <a:ext uri="{FF2B5EF4-FFF2-40B4-BE49-F238E27FC236}">
                  <a16:creationId xmlns:a16="http://schemas.microsoft.com/office/drawing/2014/main" id="{6BE87C36-7656-4DD7-87D4-EFAF504677F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30" name="Groep 29">
              <a:extLst>
                <a:ext uri="{FF2B5EF4-FFF2-40B4-BE49-F238E27FC236}">
                  <a16:creationId xmlns:a16="http://schemas.microsoft.com/office/drawing/2014/main" id="{F087791E-66F8-42C1-87ED-30D079539B01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8B5E8616-C8AB-4EC8-85FF-BE85055BEFB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F02B6429-D8EE-4EB5-BF26-CD0FB5A9A9E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25F2EE1C-C904-43AF-A415-25D9800C3E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F8259500-AA88-4666-9B83-1274922BD7AD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37C64C96-971F-49B0-8FDE-E9D4729200A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4" name="Rechthoek 43">
                <a:extLst>
                  <a:ext uri="{FF2B5EF4-FFF2-40B4-BE49-F238E27FC236}">
                    <a16:creationId xmlns:a16="http://schemas.microsoft.com/office/drawing/2014/main" id="{8CAF722A-5C45-470E-9379-BEC2BFA1306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5" name="Rechthoek 44">
                <a:extLst>
                  <a:ext uri="{FF2B5EF4-FFF2-40B4-BE49-F238E27FC236}">
                    <a16:creationId xmlns:a16="http://schemas.microsoft.com/office/drawing/2014/main" id="{744D17F6-3CEC-49D5-8B2A-1B00913BEB7D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31" name="Groep 30">
              <a:extLst>
                <a:ext uri="{FF2B5EF4-FFF2-40B4-BE49-F238E27FC236}">
                  <a16:creationId xmlns:a16="http://schemas.microsoft.com/office/drawing/2014/main" id="{EFE574FC-96FC-428C-9483-1F371D9A0A9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245EF99-9947-488F-9EED-09E3F52FCBA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0E5E601F-31FC-4034-A283-58BAFF99605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0545EC63-EC85-4C99-8D56-0EE44089A0B1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F03A67E0-C029-49B8-9913-D003231CD6CA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6" name="Rechthoek 35">
                <a:extLst>
                  <a:ext uri="{FF2B5EF4-FFF2-40B4-BE49-F238E27FC236}">
                    <a16:creationId xmlns:a16="http://schemas.microsoft.com/office/drawing/2014/main" id="{313FB65C-37DC-49CF-B5E4-01F4D55A9E0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48B9E082-D3FC-4741-83E7-43560004D29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CD3CBAC3-04E2-4B52-A3BD-FD5B876ACB54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6" name="Tekstvak 45">
            <a:extLst>
              <a:ext uri="{FF2B5EF4-FFF2-40B4-BE49-F238E27FC236}">
                <a16:creationId xmlns:a16="http://schemas.microsoft.com/office/drawing/2014/main" id="{C693B104-527C-4E84-83C7-DB4DDE482DDC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FC90C2C1-DDED-4C58-967D-A8278F1C04A7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en-GB" dirty="0"/>
              <a:t>Template made by </a:t>
            </a:r>
            <a:r>
              <a:rPr lang="en-GB" dirty="0" err="1"/>
              <a:t>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56AC55C-1262-4599-9A1B-E49598629140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7" name="Tijdelijke aanduiding voor inhoud 2">
            <a:extLst>
              <a:ext uri="{FF2B5EF4-FFF2-40B4-BE49-F238E27FC236}">
                <a16:creationId xmlns:a16="http://schemas.microsoft.com/office/drawing/2014/main" id="{A289276E-6A72-4766-8D3D-3BC956E894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1"/>
            <a:ext cx="5558929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792375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B_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11043962" y="-333831"/>
            <a:ext cx="1976529" cy="85471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>
            <a:off x="660207" y="2038350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9493682" y="5447542"/>
            <a:ext cx="2038111" cy="97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167765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+ Imag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jdelijke aanduiding voor afbeelding 10">
            <a:extLst>
              <a:ext uri="{FF2B5EF4-FFF2-40B4-BE49-F238E27FC236}">
                <a16:creationId xmlns:a16="http://schemas.microsoft.com/office/drawing/2014/main" id="{0F41E96E-9C38-4D23-B21C-C859623D0EF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454502" y="0"/>
            <a:ext cx="6737498" cy="6858000"/>
          </a:xfrm>
          <a:custGeom>
            <a:avLst/>
            <a:gdLst>
              <a:gd name="connsiteX0" fmla="*/ 3974805 w 6737498"/>
              <a:gd name="connsiteY0" fmla="*/ 0 h 6858000"/>
              <a:gd name="connsiteX1" fmla="*/ 6503150 w 6737498"/>
              <a:gd name="connsiteY1" fmla="*/ 907326 h 6858000"/>
              <a:gd name="connsiteX2" fmla="*/ 6737498 w 6737498"/>
              <a:gd name="connsiteY2" fmla="*/ 1120239 h 6858000"/>
              <a:gd name="connsiteX3" fmla="*/ 6737498 w 6737498"/>
              <a:gd name="connsiteY3" fmla="*/ 6826511 h 6858000"/>
              <a:gd name="connsiteX4" fmla="*/ 6702839 w 6737498"/>
              <a:gd name="connsiteY4" fmla="*/ 6858000 h 6858000"/>
              <a:gd name="connsiteX5" fmla="*/ 1246772 w 6737498"/>
              <a:gd name="connsiteY5" fmla="*/ 6858000 h 6858000"/>
              <a:gd name="connsiteX6" fmla="*/ 1164194 w 6737498"/>
              <a:gd name="connsiteY6" fmla="*/ 6782976 h 6858000"/>
              <a:gd name="connsiteX7" fmla="*/ 0 w 6737498"/>
              <a:gd name="connsiteY7" fmla="*/ 3973375 h 6858000"/>
              <a:gd name="connsiteX8" fmla="*/ 3974805 w 6737498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7498" h="6858000">
                <a:moveTo>
                  <a:pt x="3974805" y="0"/>
                </a:moveTo>
                <a:cubicBezTo>
                  <a:pt x="4935216" y="0"/>
                  <a:pt x="5816069" y="340501"/>
                  <a:pt x="6503150" y="907326"/>
                </a:cubicBezTo>
                <a:lnTo>
                  <a:pt x="6737498" y="1120239"/>
                </a:lnTo>
                <a:lnTo>
                  <a:pt x="6737498" y="6826511"/>
                </a:lnTo>
                <a:lnTo>
                  <a:pt x="6702839" y="6858000"/>
                </a:lnTo>
                <a:lnTo>
                  <a:pt x="1246772" y="6858000"/>
                </a:lnTo>
                <a:lnTo>
                  <a:pt x="1164194" y="6782976"/>
                </a:lnTo>
                <a:cubicBezTo>
                  <a:pt x="444896" y="6063936"/>
                  <a:pt x="0" y="5070592"/>
                  <a:pt x="0" y="3973375"/>
                </a:cubicBezTo>
                <a:cubicBezTo>
                  <a:pt x="0" y="1778941"/>
                  <a:pt x="1779581" y="0"/>
                  <a:pt x="3974805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Tijdelijke aanduiding voor inhoud 2">
            <a:extLst>
              <a:ext uri="{FF2B5EF4-FFF2-40B4-BE49-F238E27FC236}">
                <a16:creationId xmlns:a16="http://schemas.microsoft.com/office/drawing/2014/main" id="{E71A256E-2C27-4C14-9B49-1AA51FCFAF2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1" y="1457011"/>
            <a:ext cx="4477377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E5C2C65A-2658-4560-A6BE-86CB6EDD6AFB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id="{F62A4FBC-8872-485A-A7BD-85401237E3D4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7" name="Tekstvak 6">
            <a:extLst>
              <a:ext uri="{FF2B5EF4-FFF2-40B4-BE49-F238E27FC236}">
                <a16:creationId xmlns:a16="http://schemas.microsoft.com/office/drawing/2014/main" id="{7AA57C24-9FB9-467D-AF59-4E9D256E6FA2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8" name="Groep 7">
            <a:extLst>
              <a:ext uri="{FF2B5EF4-FFF2-40B4-BE49-F238E27FC236}">
                <a16:creationId xmlns:a16="http://schemas.microsoft.com/office/drawing/2014/main" id="{71F4A9A2-703C-4C76-9C73-18B866404F1E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9" name="Rechthoek 8">
              <a:extLst>
                <a:ext uri="{FF2B5EF4-FFF2-40B4-BE49-F238E27FC236}">
                  <a16:creationId xmlns:a16="http://schemas.microsoft.com/office/drawing/2014/main" id="{46EFB43F-30C6-44C2-9898-82EB22841CA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0" name="Gelijkbenige driehoek 128">
              <a:extLst>
                <a:ext uri="{FF2B5EF4-FFF2-40B4-BE49-F238E27FC236}">
                  <a16:creationId xmlns:a16="http://schemas.microsoft.com/office/drawing/2014/main" id="{415C6E54-6AF1-4BF2-9BA8-26E0725050F7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3" name="Ovaal 12">
              <a:extLst>
                <a:ext uri="{FF2B5EF4-FFF2-40B4-BE49-F238E27FC236}">
                  <a16:creationId xmlns:a16="http://schemas.microsoft.com/office/drawing/2014/main" id="{BCE79456-4827-427E-9158-03DAD897BEDE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4E7C3B5D-2B57-4C75-B2E9-2B87C4AABC36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5" name="Rechte verbindingslijn 14">
              <a:extLst>
                <a:ext uri="{FF2B5EF4-FFF2-40B4-BE49-F238E27FC236}">
                  <a16:creationId xmlns:a16="http://schemas.microsoft.com/office/drawing/2014/main" id="{AB937567-3D0A-4DF2-A7D2-29E70B21EB16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6" name="Tekstvak 15">
            <a:extLst>
              <a:ext uri="{FF2B5EF4-FFF2-40B4-BE49-F238E27FC236}">
                <a16:creationId xmlns:a16="http://schemas.microsoft.com/office/drawing/2014/main" id="{0E4A9D28-47D5-4922-ABA9-D10A49262365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7" name="Tekstvak 16">
            <a:extLst>
              <a:ext uri="{FF2B5EF4-FFF2-40B4-BE49-F238E27FC236}">
                <a16:creationId xmlns:a16="http://schemas.microsoft.com/office/drawing/2014/main" id="{1165B6BD-DD72-48BF-BE51-39C303B2B996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8" name="Groep 17">
            <a:extLst>
              <a:ext uri="{FF2B5EF4-FFF2-40B4-BE49-F238E27FC236}">
                <a16:creationId xmlns:a16="http://schemas.microsoft.com/office/drawing/2014/main" id="{B00BC30B-C7D5-4C82-AD3A-F1B2CFE7B59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6C27C000-5449-4AD2-8563-3CD67B4FC766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0" name="Groep 19">
              <a:extLst>
                <a:ext uri="{FF2B5EF4-FFF2-40B4-BE49-F238E27FC236}">
                  <a16:creationId xmlns:a16="http://schemas.microsoft.com/office/drawing/2014/main" id="{5EAD29E0-D525-4D9F-8587-1517F9A8990D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29" name="Rechthoek 28">
                <a:extLst>
                  <a:ext uri="{FF2B5EF4-FFF2-40B4-BE49-F238E27FC236}">
                    <a16:creationId xmlns:a16="http://schemas.microsoft.com/office/drawing/2014/main" id="{84511C47-EDB9-4724-96C6-A32B1B8CD9F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FE8A6093-9236-4BBF-8701-52BD2D2FC632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ABC9A642-744E-4237-B834-8AB17A6919BE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B73B35C3-CE5E-40D7-9F78-9DAF625341E4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1C089379-583F-43EA-A359-DDD8F55C9DFE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5DCE39B3-1A99-4F03-ABFA-22EBB8A0967E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BAC4910C-84C1-4BB3-8831-DBFA6FD60868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1" name="Groep 20">
              <a:extLst>
                <a:ext uri="{FF2B5EF4-FFF2-40B4-BE49-F238E27FC236}">
                  <a16:creationId xmlns:a16="http://schemas.microsoft.com/office/drawing/2014/main" id="{1BE4CDBD-2504-44B8-9FCA-349AB1C69BED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2" name="Rechthoek 21">
                <a:extLst>
                  <a:ext uri="{FF2B5EF4-FFF2-40B4-BE49-F238E27FC236}">
                    <a16:creationId xmlns:a16="http://schemas.microsoft.com/office/drawing/2014/main" id="{5C081608-A395-4D09-BD8A-A5D1FE08FAA6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3" name="Rechthoek 22">
                <a:extLst>
                  <a:ext uri="{FF2B5EF4-FFF2-40B4-BE49-F238E27FC236}">
                    <a16:creationId xmlns:a16="http://schemas.microsoft.com/office/drawing/2014/main" id="{616F45F6-8117-43FA-ABA5-A5F8D7D246A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4" name="Rechthoek 23">
                <a:extLst>
                  <a:ext uri="{FF2B5EF4-FFF2-40B4-BE49-F238E27FC236}">
                    <a16:creationId xmlns:a16="http://schemas.microsoft.com/office/drawing/2014/main" id="{688D5F99-9556-4C11-91BD-7828AAC4020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5" name="Rechthoek 24">
                <a:extLst>
                  <a:ext uri="{FF2B5EF4-FFF2-40B4-BE49-F238E27FC236}">
                    <a16:creationId xmlns:a16="http://schemas.microsoft.com/office/drawing/2014/main" id="{A83084F6-9F19-4077-B505-8884B99ECE33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A88431EE-3377-45FC-9D1C-476FE6BB3B8F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3490FF61-C896-4BCE-B5CF-96697B3FFCC8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039872A1-708A-4730-8DF5-AA21CE06830C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36" name="Tekstvak 35">
            <a:extLst>
              <a:ext uri="{FF2B5EF4-FFF2-40B4-BE49-F238E27FC236}">
                <a16:creationId xmlns:a16="http://schemas.microsoft.com/office/drawing/2014/main" id="{C13A8F42-6A68-43AB-AD02-AE8A032803D0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9F0F24F8-12A0-4728-9BFE-0E3FE52126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0693BCCB-95E3-4A85-B3C6-4FB0A6BDA7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430109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image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Tijdelijke aanduiding voor afbeelding 57">
            <a:extLst>
              <a:ext uri="{FF2B5EF4-FFF2-40B4-BE49-F238E27FC236}">
                <a16:creationId xmlns:a16="http://schemas.microsoft.com/office/drawing/2014/main" id="{D48DE010-1A0C-4166-971F-D5EDDE6E736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679455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9" name="Tijdelijke aanduiding voor afbeelding 57">
            <a:extLst>
              <a:ext uri="{FF2B5EF4-FFF2-40B4-BE49-F238E27FC236}">
                <a16:creationId xmlns:a16="http://schemas.microsoft.com/office/drawing/2014/main" id="{043CC465-FBD7-4104-8C4B-53064F78FF5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520710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0" name="Tijdelijke aanduiding voor afbeelding 57">
            <a:extLst>
              <a:ext uri="{FF2B5EF4-FFF2-40B4-BE49-F238E27FC236}">
                <a16:creationId xmlns:a16="http://schemas.microsoft.com/office/drawing/2014/main" id="{92C64300-3DFE-4ED3-B061-1086C514267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38200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9" name="Tijdelijke aanduiding voor afbeelding 57">
            <a:extLst>
              <a:ext uri="{FF2B5EF4-FFF2-40B4-BE49-F238E27FC236}">
                <a16:creationId xmlns:a16="http://schemas.microsoft.com/office/drawing/2014/main" id="{A2908ADB-146B-4FFC-940F-114478DBEDC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361964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ijdelijke aanduiding voor inhoud 7">
            <a:extLst>
              <a:ext uri="{FF2B5EF4-FFF2-40B4-BE49-F238E27FC236}">
                <a16:creationId xmlns:a16="http://schemas.microsoft.com/office/drawing/2014/main" id="{361655FF-F737-47B0-AAB6-8D7FBC047C92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38200" y="4078288"/>
            <a:ext cx="10515600" cy="208646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4" name="任意形状 66">
            <a:extLst>
              <a:ext uri="{FF2B5EF4-FFF2-40B4-BE49-F238E27FC236}">
                <a16:creationId xmlns:a16="http://schemas.microsoft.com/office/drawing/2014/main" id="{AFED4D00-A44A-4ED7-97B8-E3F8231E6084}"/>
              </a:ext>
            </a:extLst>
          </p:cNvPr>
          <p:cNvSpPr/>
          <p:nvPr/>
        </p:nvSpPr>
        <p:spPr>
          <a:xfrm>
            <a:off x="3106391" y="2481906"/>
            <a:ext cx="296709" cy="494512"/>
          </a:xfrm>
          <a:custGeom>
            <a:avLst/>
            <a:gdLst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6942 w 21600"/>
              <a:gd name="connsiteY11" fmla="*/ 0 h 21600"/>
              <a:gd name="connsiteX12" fmla="*/ 2777 w 21600"/>
              <a:gd name="connsiteY12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2777 w 21600"/>
              <a:gd name="connsiteY11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0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0" fmla="*/ 14658 w 14658"/>
              <a:gd name="connsiteY0" fmla="*/ 10800 h 21600"/>
              <a:gd name="connsiteX1" fmla="*/ 7716 w 14658"/>
              <a:gd name="connsiteY1" fmla="*/ 21600 h 21600"/>
              <a:gd name="connsiteX2" fmla="*/ 6327 w 14658"/>
              <a:gd name="connsiteY2" fmla="*/ 19440 h 21600"/>
              <a:gd name="connsiteX3" fmla="*/ 11881 w 14658"/>
              <a:gd name="connsiteY3" fmla="*/ 10800 h 21600"/>
              <a:gd name="connsiteX4" fmla="*/ 6327 w 14658"/>
              <a:gd name="connsiteY4" fmla="*/ 2160 h 21600"/>
              <a:gd name="connsiteX5" fmla="*/ 7716 w 14658"/>
              <a:gd name="connsiteY5" fmla="*/ 0 h 21600"/>
              <a:gd name="connsiteX6" fmla="*/ 14658 w 14658"/>
              <a:gd name="connsiteY6" fmla="*/ 10800 h 21600"/>
              <a:gd name="connsiteX7" fmla="*/ 0 w 14658"/>
              <a:gd name="connsiteY7" fmla="*/ 21600 h 21600"/>
              <a:gd name="connsiteX8" fmla="*/ 1389 w 14658"/>
              <a:gd name="connsiteY8" fmla="*/ 19440 h 21600"/>
              <a:gd name="connsiteX9" fmla="*/ 0 w 14658"/>
              <a:gd name="connsiteY9" fmla="*/ 21600 h 21600"/>
              <a:gd name="connsiteX0" fmla="*/ 8331 w 8331"/>
              <a:gd name="connsiteY0" fmla="*/ 10800 h 21600"/>
              <a:gd name="connsiteX1" fmla="*/ 1389 w 8331"/>
              <a:gd name="connsiteY1" fmla="*/ 21600 h 21600"/>
              <a:gd name="connsiteX2" fmla="*/ 0 w 8331"/>
              <a:gd name="connsiteY2" fmla="*/ 19440 h 21600"/>
              <a:gd name="connsiteX3" fmla="*/ 5554 w 8331"/>
              <a:gd name="connsiteY3" fmla="*/ 10800 h 21600"/>
              <a:gd name="connsiteX4" fmla="*/ 0 w 8331"/>
              <a:gd name="connsiteY4" fmla="*/ 2160 h 21600"/>
              <a:gd name="connsiteX5" fmla="*/ 1389 w 8331"/>
              <a:gd name="connsiteY5" fmla="*/ 0 h 21600"/>
              <a:gd name="connsiteX6" fmla="*/ 8331 w 8331"/>
              <a:gd name="connsiteY6" fmla="*/ 10800 h 2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31" h="21600" extrusionOk="0">
                <a:moveTo>
                  <a:pt x="8331" y="10800"/>
                </a:moveTo>
                <a:lnTo>
                  <a:pt x="1389" y="21600"/>
                </a:lnTo>
                <a:lnTo>
                  <a:pt x="0" y="19440"/>
                </a:lnTo>
                <a:lnTo>
                  <a:pt x="5554" y="10800"/>
                </a:lnTo>
                <a:lnTo>
                  <a:pt x="0" y="2160"/>
                </a:lnTo>
                <a:lnTo>
                  <a:pt x="1389" y="0"/>
                </a:lnTo>
                <a:lnTo>
                  <a:pt x="8331" y="10800"/>
                </a:ln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endParaRPr/>
          </a:p>
        </p:txBody>
      </p:sp>
      <p:sp>
        <p:nvSpPr>
          <p:cNvPr id="35" name="任意形状 66">
            <a:extLst>
              <a:ext uri="{FF2B5EF4-FFF2-40B4-BE49-F238E27FC236}">
                <a16:creationId xmlns:a16="http://schemas.microsoft.com/office/drawing/2014/main" id="{A322EFEA-BA3D-48DE-81DA-C9080DFC860C}"/>
              </a:ext>
            </a:extLst>
          </p:cNvPr>
          <p:cNvSpPr/>
          <p:nvPr/>
        </p:nvSpPr>
        <p:spPr>
          <a:xfrm>
            <a:off x="5947646" y="2481906"/>
            <a:ext cx="296709" cy="494512"/>
          </a:xfrm>
          <a:custGeom>
            <a:avLst/>
            <a:gdLst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6942 w 21600"/>
              <a:gd name="connsiteY11" fmla="*/ 0 h 21600"/>
              <a:gd name="connsiteX12" fmla="*/ 2777 w 21600"/>
              <a:gd name="connsiteY12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2777 w 21600"/>
              <a:gd name="connsiteY11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0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0" fmla="*/ 14658 w 14658"/>
              <a:gd name="connsiteY0" fmla="*/ 10800 h 21600"/>
              <a:gd name="connsiteX1" fmla="*/ 7716 w 14658"/>
              <a:gd name="connsiteY1" fmla="*/ 21600 h 21600"/>
              <a:gd name="connsiteX2" fmla="*/ 6327 w 14658"/>
              <a:gd name="connsiteY2" fmla="*/ 19440 h 21600"/>
              <a:gd name="connsiteX3" fmla="*/ 11881 w 14658"/>
              <a:gd name="connsiteY3" fmla="*/ 10800 h 21600"/>
              <a:gd name="connsiteX4" fmla="*/ 6327 w 14658"/>
              <a:gd name="connsiteY4" fmla="*/ 2160 h 21600"/>
              <a:gd name="connsiteX5" fmla="*/ 7716 w 14658"/>
              <a:gd name="connsiteY5" fmla="*/ 0 h 21600"/>
              <a:gd name="connsiteX6" fmla="*/ 14658 w 14658"/>
              <a:gd name="connsiteY6" fmla="*/ 10800 h 21600"/>
              <a:gd name="connsiteX7" fmla="*/ 0 w 14658"/>
              <a:gd name="connsiteY7" fmla="*/ 21600 h 21600"/>
              <a:gd name="connsiteX8" fmla="*/ 1389 w 14658"/>
              <a:gd name="connsiteY8" fmla="*/ 19440 h 21600"/>
              <a:gd name="connsiteX9" fmla="*/ 0 w 14658"/>
              <a:gd name="connsiteY9" fmla="*/ 21600 h 21600"/>
              <a:gd name="connsiteX0" fmla="*/ 8331 w 8331"/>
              <a:gd name="connsiteY0" fmla="*/ 10800 h 21600"/>
              <a:gd name="connsiteX1" fmla="*/ 1389 w 8331"/>
              <a:gd name="connsiteY1" fmla="*/ 21600 h 21600"/>
              <a:gd name="connsiteX2" fmla="*/ 0 w 8331"/>
              <a:gd name="connsiteY2" fmla="*/ 19440 h 21600"/>
              <a:gd name="connsiteX3" fmla="*/ 5554 w 8331"/>
              <a:gd name="connsiteY3" fmla="*/ 10800 h 21600"/>
              <a:gd name="connsiteX4" fmla="*/ 0 w 8331"/>
              <a:gd name="connsiteY4" fmla="*/ 2160 h 21600"/>
              <a:gd name="connsiteX5" fmla="*/ 1389 w 8331"/>
              <a:gd name="connsiteY5" fmla="*/ 0 h 21600"/>
              <a:gd name="connsiteX6" fmla="*/ 8331 w 8331"/>
              <a:gd name="connsiteY6" fmla="*/ 10800 h 2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31" h="21600" extrusionOk="0">
                <a:moveTo>
                  <a:pt x="8331" y="10800"/>
                </a:moveTo>
                <a:lnTo>
                  <a:pt x="1389" y="21600"/>
                </a:lnTo>
                <a:lnTo>
                  <a:pt x="0" y="19440"/>
                </a:lnTo>
                <a:lnTo>
                  <a:pt x="5554" y="10800"/>
                </a:lnTo>
                <a:lnTo>
                  <a:pt x="0" y="2160"/>
                </a:lnTo>
                <a:lnTo>
                  <a:pt x="1389" y="0"/>
                </a:lnTo>
                <a:lnTo>
                  <a:pt x="8331" y="10800"/>
                </a:ln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endParaRPr/>
          </a:p>
        </p:txBody>
      </p:sp>
      <p:sp>
        <p:nvSpPr>
          <p:cNvPr id="36" name="任意形状 66">
            <a:extLst>
              <a:ext uri="{FF2B5EF4-FFF2-40B4-BE49-F238E27FC236}">
                <a16:creationId xmlns:a16="http://schemas.microsoft.com/office/drawing/2014/main" id="{655922D4-3BD3-46CF-958B-856DF4C84B21}"/>
              </a:ext>
            </a:extLst>
          </p:cNvPr>
          <p:cNvSpPr/>
          <p:nvPr/>
        </p:nvSpPr>
        <p:spPr>
          <a:xfrm>
            <a:off x="8788901" y="2481906"/>
            <a:ext cx="296709" cy="494512"/>
          </a:xfrm>
          <a:custGeom>
            <a:avLst/>
            <a:gdLst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6942 w 21600"/>
              <a:gd name="connsiteY11" fmla="*/ 0 h 21600"/>
              <a:gd name="connsiteX12" fmla="*/ 2777 w 21600"/>
              <a:gd name="connsiteY12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2777 w 21600"/>
              <a:gd name="connsiteY11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0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0" fmla="*/ 14658 w 14658"/>
              <a:gd name="connsiteY0" fmla="*/ 10800 h 21600"/>
              <a:gd name="connsiteX1" fmla="*/ 7716 w 14658"/>
              <a:gd name="connsiteY1" fmla="*/ 21600 h 21600"/>
              <a:gd name="connsiteX2" fmla="*/ 6327 w 14658"/>
              <a:gd name="connsiteY2" fmla="*/ 19440 h 21600"/>
              <a:gd name="connsiteX3" fmla="*/ 11881 w 14658"/>
              <a:gd name="connsiteY3" fmla="*/ 10800 h 21600"/>
              <a:gd name="connsiteX4" fmla="*/ 6327 w 14658"/>
              <a:gd name="connsiteY4" fmla="*/ 2160 h 21600"/>
              <a:gd name="connsiteX5" fmla="*/ 7716 w 14658"/>
              <a:gd name="connsiteY5" fmla="*/ 0 h 21600"/>
              <a:gd name="connsiteX6" fmla="*/ 14658 w 14658"/>
              <a:gd name="connsiteY6" fmla="*/ 10800 h 21600"/>
              <a:gd name="connsiteX7" fmla="*/ 0 w 14658"/>
              <a:gd name="connsiteY7" fmla="*/ 21600 h 21600"/>
              <a:gd name="connsiteX8" fmla="*/ 1389 w 14658"/>
              <a:gd name="connsiteY8" fmla="*/ 19440 h 21600"/>
              <a:gd name="connsiteX9" fmla="*/ 0 w 14658"/>
              <a:gd name="connsiteY9" fmla="*/ 21600 h 21600"/>
              <a:gd name="connsiteX0" fmla="*/ 8331 w 8331"/>
              <a:gd name="connsiteY0" fmla="*/ 10800 h 21600"/>
              <a:gd name="connsiteX1" fmla="*/ 1389 w 8331"/>
              <a:gd name="connsiteY1" fmla="*/ 21600 h 21600"/>
              <a:gd name="connsiteX2" fmla="*/ 0 w 8331"/>
              <a:gd name="connsiteY2" fmla="*/ 19440 h 21600"/>
              <a:gd name="connsiteX3" fmla="*/ 5554 w 8331"/>
              <a:gd name="connsiteY3" fmla="*/ 10800 h 21600"/>
              <a:gd name="connsiteX4" fmla="*/ 0 w 8331"/>
              <a:gd name="connsiteY4" fmla="*/ 2160 h 21600"/>
              <a:gd name="connsiteX5" fmla="*/ 1389 w 8331"/>
              <a:gd name="connsiteY5" fmla="*/ 0 h 21600"/>
              <a:gd name="connsiteX6" fmla="*/ 8331 w 8331"/>
              <a:gd name="connsiteY6" fmla="*/ 10800 h 2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31" h="21600" extrusionOk="0">
                <a:moveTo>
                  <a:pt x="8331" y="10800"/>
                </a:moveTo>
                <a:lnTo>
                  <a:pt x="1389" y="21600"/>
                </a:lnTo>
                <a:lnTo>
                  <a:pt x="0" y="19440"/>
                </a:lnTo>
                <a:lnTo>
                  <a:pt x="5554" y="10800"/>
                </a:lnTo>
                <a:lnTo>
                  <a:pt x="0" y="2160"/>
                </a:lnTo>
                <a:lnTo>
                  <a:pt x="1389" y="0"/>
                </a:lnTo>
                <a:lnTo>
                  <a:pt x="8331" y="10800"/>
                </a:ln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endParaRPr/>
          </a:p>
        </p:txBody>
      </p:sp>
      <p:sp>
        <p:nvSpPr>
          <p:cNvPr id="11" name="Rechthoek 10">
            <a:extLst>
              <a:ext uri="{FF2B5EF4-FFF2-40B4-BE49-F238E27FC236}">
                <a16:creationId xmlns:a16="http://schemas.microsoft.com/office/drawing/2014/main" id="{0F64BDDA-83F6-49F6-83E2-CA4C17924C92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2" name="Rechte verbindingslijn 11">
            <a:extLst>
              <a:ext uri="{FF2B5EF4-FFF2-40B4-BE49-F238E27FC236}">
                <a16:creationId xmlns:a16="http://schemas.microsoft.com/office/drawing/2014/main" id="{ABAA067D-68DC-4D17-A232-E09CF41A5A7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3" name="Tekstvak 12">
            <a:extLst>
              <a:ext uri="{FF2B5EF4-FFF2-40B4-BE49-F238E27FC236}">
                <a16:creationId xmlns:a16="http://schemas.microsoft.com/office/drawing/2014/main" id="{9BB53258-6B15-4A3E-8076-B8CB9F1A76EE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4" name="Groep 13">
            <a:extLst>
              <a:ext uri="{FF2B5EF4-FFF2-40B4-BE49-F238E27FC236}">
                <a16:creationId xmlns:a16="http://schemas.microsoft.com/office/drawing/2014/main" id="{6524146B-70AA-4032-9964-3C5B0B31D1D1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62374F56-6622-4A31-A57F-57868348BAF3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6" name="Gelijkbenige driehoek 128">
              <a:extLst>
                <a:ext uri="{FF2B5EF4-FFF2-40B4-BE49-F238E27FC236}">
                  <a16:creationId xmlns:a16="http://schemas.microsoft.com/office/drawing/2014/main" id="{1AA46C18-1C28-4228-92B3-393252B482BA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7" name="Ovaal 16">
              <a:extLst>
                <a:ext uri="{FF2B5EF4-FFF2-40B4-BE49-F238E27FC236}">
                  <a16:creationId xmlns:a16="http://schemas.microsoft.com/office/drawing/2014/main" id="{B7D978C1-8ECF-42D9-8DAE-3382095D2B8D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8" name="Rechthoek 17">
              <a:extLst>
                <a:ext uri="{FF2B5EF4-FFF2-40B4-BE49-F238E27FC236}">
                  <a16:creationId xmlns:a16="http://schemas.microsoft.com/office/drawing/2014/main" id="{690E3B56-2C0C-4C5B-9189-8A263AD2B9D8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9" name="Rechte verbindingslijn 18">
              <a:extLst>
                <a:ext uri="{FF2B5EF4-FFF2-40B4-BE49-F238E27FC236}">
                  <a16:creationId xmlns:a16="http://schemas.microsoft.com/office/drawing/2014/main" id="{16812722-7EFC-46CA-A347-61B4E3C24478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0" name="Tekstvak 19">
            <a:extLst>
              <a:ext uri="{FF2B5EF4-FFF2-40B4-BE49-F238E27FC236}">
                <a16:creationId xmlns:a16="http://schemas.microsoft.com/office/drawing/2014/main" id="{315FB1F7-DFB7-427C-9170-33BAAFFA4F95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1" name="Tekstvak 20">
            <a:extLst>
              <a:ext uri="{FF2B5EF4-FFF2-40B4-BE49-F238E27FC236}">
                <a16:creationId xmlns:a16="http://schemas.microsoft.com/office/drawing/2014/main" id="{CE9F2863-3BCC-4783-8FAC-A850C593F715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2" name="Groep 21">
            <a:extLst>
              <a:ext uri="{FF2B5EF4-FFF2-40B4-BE49-F238E27FC236}">
                <a16:creationId xmlns:a16="http://schemas.microsoft.com/office/drawing/2014/main" id="{EF5C1873-2EA1-46C1-9B95-EA3E082D60E4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3" name="Rechthoek 22">
              <a:extLst>
                <a:ext uri="{FF2B5EF4-FFF2-40B4-BE49-F238E27FC236}">
                  <a16:creationId xmlns:a16="http://schemas.microsoft.com/office/drawing/2014/main" id="{214D8220-166C-4990-AF74-B7A5D85EFC44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4" name="Groep 23">
              <a:extLst>
                <a:ext uri="{FF2B5EF4-FFF2-40B4-BE49-F238E27FC236}">
                  <a16:creationId xmlns:a16="http://schemas.microsoft.com/office/drawing/2014/main" id="{70F5BEA0-CDF5-4567-BADE-DCEA92538944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011CCB6D-09D6-4FF2-B71E-C4F565DBC280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179A6272-710A-434A-AE75-6E0E5E49E057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1AB8BEB7-72F0-4BD5-AE59-595157BC7C4E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C7A8E8EB-2657-49CF-A833-5D1ADDA5C370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307525DA-0B92-4588-83A7-5E55B60DDAB1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ACF55B21-7FC6-450D-B67F-19F4B577D5BA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2621F62B-189B-4101-902B-228D718CC106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5" name="Groep 24">
              <a:extLst>
                <a:ext uri="{FF2B5EF4-FFF2-40B4-BE49-F238E27FC236}">
                  <a16:creationId xmlns:a16="http://schemas.microsoft.com/office/drawing/2014/main" id="{FFB58F2F-A65B-43BF-8590-8F6BD1A6D93D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8D8F4811-1508-4277-808B-8DB87BDE03B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D1D2CC7F-B5F6-452E-A62C-8C0C0B77D28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54A3C999-4B62-4BC8-82F7-5D137C6463C6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EE721BE1-8E4D-49DA-9377-13B31FE84D78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44C3CEF0-4A60-4B88-B408-28CF105451BF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57B8AB8-140B-45CD-9327-7A72D526F971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E4AFCDCA-C7EE-4B7C-8DF3-D100A12058DA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4" name="Tekstvak 43">
            <a:extLst>
              <a:ext uri="{FF2B5EF4-FFF2-40B4-BE49-F238E27FC236}">
                <a16:creationId xmlns:a16="http://schemas.microsoft.com/office/drawing/2014/main" id="{273947A7-9254-4672-9759-A7EB91635602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E0F915DA-A1E8-4934-89C5-26A0771FE7B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B30C73B2-9DD4-41C9-AA89-1A9861D1BBA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499591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 in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4251229" y="1391096"/>
            <a:ext cx="1817966" cy="2020312"/>
          </a:xfrm>
          <a:custGeom>
            <a:avLst/>
            <a:gdLst>
              <a:gd name="connsiteX0" fmla="*/ 1813421 w 1817966"/>
              <a:gd name="connsiteY0" fmla="*/ 1176110 h 2020312"/>
              <a:gd name="connsiteX1" fmla="*/ 1477616 w 1817966"/>
              <a:gd name="connsiteY1" fmla="*/ 1536180 h 2020312"/>
              <a:gd name="connsiteX2" fmla="*/ 1328519 w 1817966"/>
              <a:gd name="connsiteY2" fmla="*/ 2018701 h 2020312"/>
              <a:gd name="connsiteX3" fmla="*/ 686567 w 1817966"/>
              <a:gd name="connsiteY3" fmla="*/ 1788045 h 2020312"/>
              <a:gd name="connsiteX4" fmla="*/ -4321 w 1817966"/>
              <a:gd name="connsiteY4" fmla="*/ 2018701 h 2020312"/>
              <a:gd name="connsiteX5" fmla="*/ 1139608 w 1817966"/>
              <a:gd name="connsiteY5" fmla="*/ -1612 h 2020312"/>
              <a:gd name="connsiteX6" fmla="*/ 1813645 w 1817966"/>
              <a:gd name="connsiteY6" fmla="*/ 433232 h 20203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17966" h="2020312">
                <a:moveTo>
                  <a:pt x="1813421" y="1176110"/>
                </a:moveTo>
                <a:cubicBezTo>
                  <a:pt x="1676231" y="1269801"/>
                  <a:pt x="1561511" y="1392790"/>
                  <a:pt x="1477616" y="1536180"/>
                </a:cubicBezTo>
                <a:cubicBezTo>
                  <a:pt x="1391429" y="1683390"/>
                  <a:pt x="1340426" y="1848529"/>
                  <a:pt x="1328519" y="2018701"/>
                </a:cubicBezTo>
                <a:lnTo>
                  <a:pt x="686567" y="1788045"/>
                </a:lnTo>
                <a:lnTo>
                  <a:pt x="-4321" y="2018701"/>
                </a:lnTo>
                <a:cubicBezTo>
                  <a:pt x="20394" y="1197814"/>
                  <a:pt x="448407" y="441904"/>
                  <a:pt x="1139608" y="-1612"/>
                </a:cubicBezTo>
                <a:lnTo>
                  <a:pt x="1813645" y="433232"/>
                </a:lnTo>
                <a:close/>
              </a:path>
            </a:pathLst>
          </a:custGeom>
          <a:solidFill>
            <a:schemeClr val="accent6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6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5669569" y="1709799"/>
            <a:ext cx="2302779" cy="1475129"/>
          </a:xfrm>
          <a:custGeom>
            <a:avLst/>
            <a:gdLst>
              <a:gd name="connsiteX0" fmla="*/ 2298458 w 2302779"/>
              <a:gd name="connsiteY0" fmla="*/ 289326 h 1475129"/>
              <a:gd name="connsiteX1" fmla="*/ 2251679 w 2302779"/>
              <a:gd name="connsiteY1" fmla="*/ 1043078 h 1475129"/>
              <a:gd name="connsiteX2" fmla="*/ 1631971 w 2302779"/>
              <a:gd name="connsiteY2" fmla="*/ 1467722 h 1475129"/>
              <a:gd name="connsiteX3" fmla="*/ 1404462 w 2302779"/>
              <a:gd name="connsiteY3" fmla="*/ 1389443 h 1475129"/>
              <a:gd name="connsiteX4" fmla="*/ 903965 w 2302779"/>
              <a:gd name="connsiteY4" fmla="*/ 1390926 h 1475129"/>
              <a:gd name="connsiteX5" fmla="*/ 670299 w 2302779"/>
              <a:gd name="connsiteY5" fmla="*/ 1473518 h 1475129"/>
              <a:gd name="connsiteX6" fmla="*/ 694250 w 2302779"/>
              <a:gd name="connsiteY6" fmla="*/ 736032 h 1475129"/>
              <a:gd name="connsiteX7" fmla="*/ -4321 w 2302779"/>
              <a:gd name="connsiteY7" fmla="*/ 294583 h 1475129"/>
              <a:gd name="connsiteX8" fmla="*/ 2298278 w 2302779"/>
              <a:gd name="connsiteY8" fmla="*/ 289326 h 14751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02779" h="1475129">
                <a:moveTo>
                  <a:pt x="2298458" y="289326"/>
                </a:moveTo>
                <a:lnTo>
                  <a:pt x="2251679" y="1043078"/>
                </a:lnTo>
                <a:lnTo>
                  <a:pt x="1631971" y="1467722"/>
                </a:lnTo>
                <a:cubicBezTo>
                  <a:pt x="1559220" y="1433436"/>
                  <a:pt x="1482920" y="1407193"/>
                  <a:pt x="1404462" y="1389443"/>
                </a:cubicBezTo>
                <a:cubicBezTo>
                  <a:pt x="1239637" y="1352326"/>
                  <a:pt x="1068567" y="1352865"/>
                  <a:pt x="903965" y="1390926"/>
                </a:cubicBezTo>
                <a:cubicBezTo>
                  <a:pt x="823217" y="1409574"/>
                  <a:pt x="744849" y="1437300"/>
                  <a:pt x="670299" y="1473518"/>
                </a:cubicBezTo>
                <a:lnTo>
                  <a:pt x="694250" y="736032"/>
                </a:lnTo>
                <a:lnTo>
                  <a:pt x="-4321" y="294583"/>
                </a:lnTo>
                <a:cubicBezTo>
                  <a:pt x="712405" y="-98470"/>
                  <a:pt x="1579755" y="-100447"/>
                  <a:pt x="2298278" y="289326"/>
                </a:cubicBezTo>
                <a:close/>
              </a:path>
            </a:pathLst>
          </a:custGeom>
          <a:solidFill>
            <a:schemeClr val="accent3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7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6981052" y="2655178"/>
            <a:ext cx="1819403" cy="2291724"/>
          </a:xfrm>
          <a:custGeom>
            <a:avLst/>
            <a:gdLst>
              <a:gd name="connsiteX0" fmla="*/ 1815082 w 1819403"/>
              <a:gd name="connsiteY0" fmla="*/ 2024992 h 2291724"/>
              <a:gd name="connsiteX1" fmla="*/ 1144146 w 1819403"/>
              <a:gd name="connsiteY1" fmla="*/ 2290113 h 2291724"/>
              <a:gd name="connsiteX2" fmla="*/ 492577 w 1819403"/>
              <a:gd name="connsiteY2" fmla="*/ 2025262 h 2291724"/>
              <a:gd name="connsiteX3" fmla="*/ 339795 w 1819403"/>
              <a:gd name="connsiteY3" fmla="*/ 1536405 h 2291724"/>
              <a:gd name="connsiteX4" fmla="*/ -4321 w 1819403"/>
              <a:gd name="connsiteY4" fmla="*/ 1174447 h 2291724"/>
              <a:gd name="connsiteX5" fmla="*/ 575081 w 1819403"/>
              <a:gd name="connsiteY5" fmla="*/ 813568 h 2291724"/>
              <a:gd name="connsiteX6" fmla="*/ 660862 w 1819403"/>
              <a:gd name="connsiteY6" fmla="*/ -1612 h 2291724"/>
              <a:gd name="connsiteX7" fmla="*/ 1815082 w 1819403"/>
              <a:gd name="connsiteY7" fmla="*/ 2024992 h 22917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19403" h="2291724">
                <a:moveTo>
                  <a:pt x="1815082" y="2024992"/>
                </a:moveTo>
                <a:lnTo>
                  <a:pt x="1144146" y="2290113"/>
                </a:lnTo>
                <a:lnTo>
                  <a:pt x="492577" y="2025262"/>
                </a:lnTo>
                <a:cubicBezTo>
                  <a:pt x="480489" y="1852618"/>
                  <a:pt x="428186" y="1685187"/>
                  <a:pt x="339795" y="1536405"/>
                </a:cubicBezTo>
                <a:cubicBezTo>
                  <a:pt x="253744" y="1391442"/>
                  <a:pt x="136103" y="1267734"/>
                  <a:pt x="-4321" y="1174447"/>
                </a:cubicBezTo>
                <a:lnTo>
                  <a:pt x="575081" y="813568"/>
                </a:lnTo>
                <a:lnTo>
                  <a:pt x="660862" y="-1612"/>
                </a:lnTo>
                <a:cubicBezTo>
                  <a:pt x="1357997" y="440601"/>
                  <a:pt x="1790368" y="1199791"/>
                  <a:pt x="1815082" y="2024992"/>
                </a:cubicBezTo>
                <a:close/>
              </a:path>
            </a:pathLst>
          </a:custGeom>
          <a:solidFill>
            <a:schemeClr val="accent1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8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6124564" y="4658708"/>
            <a:ext cx="1815989" cy="2020358"/>
          </a:xfrm>
          <a:custGeom>
            <a:avLst/>
            <a:gdLst>
              <a:gd name="connsiteX0" fmla="*/ 1811668 w 1815989"/>
              <a:gd name="connsiteY0" fmla="*/ -1567 h 2020358"/>
              <a:gd name="connsiteX1" fmla="*/ 667379 w 1815989"/>
              <a:gd name="connsiteY1" fmla="*/ 2018746 h 2020358"/>
              <a:gd name="connsiteX2" fmla="*/ 96425 w 1815989"/>
              <a:gd name="connsiteY2" fmla="*/ 1541574 h 2020358"/>
              <a:gd name="connsiteX3" fmla="*/ -4321 w 1815989"/>
              <a:gd name="connsiteY3" fmla="*/ 844799 h 2020358"/>
              <a:gd name="connsiteX4" fmla="*/ 336877 w 1815989"/>
              <a:gd name="connsiteY4" fmla="*/ 484144 h 2020358"/>
              <a:gd name="connsiteX5" fmla="*/ 488805 w 1815989"/>
              <a:gd name="connsiteY5" fmla="*/ -1612 h 2020358"/>
              <a:gd name="connsiteX6" fmla="*/ 1127297 w 1815989"/>
              <a:gd name="connsiteY6" fmla="*/ 251647 h 20203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15989" h="2020358">
                <a:moveTo>
                  <a:pt x="1811668" y="-1567"/>
                </a:moveTo>
                <a:cubicBezTo>
                  <a:pt x="1786864" y="819411"/>
                  <a:pt x="1358716" y="1575320"/>
                  <a:pt x="667379" y="2018746"/>
                </a:cubicBezTo>
                <a:lnTo>
                  <a:pt x="96425" y="1541574"/>
                </a:lnTo>
                <a:lnTo>
                  <a:pt x="-4321" y="844799"/>
                </a:lnTo>
                <a:cubicBezTo>
                  <a:pt x="134890" y="751557"/>
                  <a:pt x="251499" y="628299"/>
                  <a:pt x="336877" y="484144"/>
                </a:cubicBezTo>
                <a:cubicBezTo>
                  <a:pt x="424502" y="336171"/>
                  <a:pt x="476492" y="169909"/>
                  <a:pt x="488805" y="-1612"/>
                </a:cubicBezTo>
                <a:lnTo>
                  <a:pt x="1127297" y="251647"/>
                </a:lnTo>
                <a:close/>
              </a:path>
            </a:pathLst>
          </a:custGeom>
          <a:solidFill>
            <a:schemeClr val="accent2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9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3379559" y="3176138"/>
            <a:ext cx="1823763" cy="2237128"/>
          </a:xfrm>
          <a:custGeom>
            <a:avLst/>
            <a:gdLst>
              <a:gd name="connsiteX0" fmla="*/ 1819442 w 1823763"/>
              <a:gd name="connsiteY0" fmla="*/ 1052807 h 2237128"/>
              <a:gd name="connsiteX1" fmla="*/ 1292210 w 1823763"/>
              <a:gd name="connsiteY1" fmla="*/ 1488684 h 2237128"/>
              <a:gd name="connsiteX2" fmla="*/ 1149899 w 1823763"/>
              <a:gd name="connsiteY2" fmla="*/ 2235517 h 2237128"/>
              <a:gd name="connsiteX3" fmla="*/ -4321 w 1823763"/>
              <a:gd name="connsiteY3" fmla="*/ 208553 h 2237128"/>
              <a:gd name="connsiteX4" fmla="*/ 657492 w 1823763"/>
              <a:gd name="connsiteY4" fmla="*/ -1612 h 2237128"/>
              <a:gd name="connsiteX5" fmla="*/ 1328922 w 1823763"/>
              <a:gd name="connsiteY5" fmla="*/ 208553 h 2237128"/>
              <a:gd name="connsiteX6" fmla="*/ 1480043 w 1823763"/>
              <a:gd name="connsiteY6" fmla="*/ 692781 h 2237128"/>
              <a:gd name="connsiteX7" fmla="*/ 1819442 w 1823763"/>
              <a:gd name="connsiteY7" fmla="*/ 1052807 h 2237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23763" h="2237128">
                <a:moveTo>
                  <a:pt x="1819442" y="1052807"/>
                </a:moveTo>
                <a:lnTo>
                  <a:pt x="1292210" y="1488684"/>
                </a:lnTo>
                <a:lnTo>
                  <a:pt x="1149899" y="2235517"/>
                </a:lnTo>
                <a:cubicBezTo>
                  <a:pt x="452900" y="1792989"/>
                  <a:pt x="20617" y="1033754"/>
                  <a:pt x="-4321" y="208553"/>
                </a:cubicBezTo>
                <a:lnTo>
                  <a:pt x="657492" y="-1612"/>
                </a:lnTo>
                <a:lnTo>
                  <a:pt x="1328922" y="208553"/>
                </a:lnTo>
                <a:cubicBezTo>
                  <a:pt x="1341236" y="379444"/>
                  <a:pt x="1392956" y="545213"/>
                  <a:pt x="1480043" y="692781"/>
                </a:cubicBezTo>
                <a:cubicBezTo>
                  <a:pt x="1564971" y="836575"/>
                  <a:pt x="1680905" y="959565"/>
                  <a:pt x="1819442" y="1052807"/>
                </a:cubicBezTo>
                <a:close/>
              </a:path>
            </a:pathLst>
          </a:custGeom>
          <a:solidFill>
            <a:schemeClr val="accent5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0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4219616" y="4885164"/>
            <a:ext cx="2302239" cy="1474744"/>
          </a:xfrm>
          <a:custGeom>
            <a:avLst/>
            <a:gdLst>
              <a:gd name="connsiteX0" fmla="*/ 2297918 w 2302239"/>
              <a:gd name="connsiteY0" fmla="*/ 1176919 h 1474744"/>
              <a:gd name="connsiteX1" fmla="*/ -4321 w 2302239"/>
              <a:gd name="connsiteY1" fmla="*/ 1182716 h 1474744"/>
              <a:gd name="connsiteX2" fmla="*/ 135697 w 2302239"/>
              <a:gd name="connsiteY2" fmla="*/ 459250 h 1474744"/>
              <a:gd name="connsiteX3" fmla="*/ 665940 w 2302239"/>
              <a:gd name="connsiteY3" fmla="*/ -1612 h 1474744"/>
              <a:gd name="connsiteX4" fmla="*/ 1395652 w 2302239"/>
              <a:gd name="connsiteY4" fmla="*/ 79273 h 1474744"/>
              <a:gd name="connsiteX5" fmla="*/ 1624601 w 2302239"/>
              <a:gd name="connsiteY5" fmla="*/ 6 h 1474744"/>
              <a:gd name="connsiteX6" fmla="*/ 1695869 w 2302239"/>
              <a:gd name="connsiteY6" fmla="*/ 682490 h 1474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02239" h="1474744">
                <a:moveTo>
                  <a:pt x="2297918" y="1176919"/>
                </a:moveTo>
                <a:cubicBezTo>
                  <a:pt x="1581326" y="1569793"/>
                  <a:pt x="714246" y="1571995"/>
                  <a:pt x="-4321" y="1182716"/>
                </a:cubicBezTo>
                <a:lnTo>
                  <a:pt x="135697" y="459250"/>
                </a:lnTo>
                <a:lnTo>
                  <a:pt x="665940" y="-1612"/>
                </a:lnTo>
                <a:cubicBezTo>
                  <a:pt x="893271" y="106324"/>
                  <a:pt x="1150213" y="134814"/>
                  <a:pt x="1395652" y="79273"/>
                </a:cubicBezTo>
                <a:cubicBezTo>
                  <a:pt x="1474650" y="61298"/>
                  <a:pt x="1551401" y="34742"/>
                  <a:pt x="1624601" y="6"/>
                </a:cubicBezTo>
                <a:lnTo>
                  <a:pt x="1695869" y="682490"/>
                </a:lnTo>
                <a:close/>
              </a:path>
            </a:pathLst>
          </a:custGeom>
          <a:solidFill>
            <a:schemeClr val="accent4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ijdelijke aanduiding voor tekst 11">
            <a:extLst>
              <a:ext uri="{FF2B5EF4-FFF2-40B4-BE49-F238E27FC236}">
                <a16:creationId xmlns:a16="http://schemas.microsoft.com/office/drawing/2014/main" id="{57FB1A36-5430-45DC-AD88-3BD8847AB1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0C7EA4DD-F03C-43E6-AD43-DE68E53E4EFF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8482F9D7-4D91-4F9E-B438-FFF0D2AE7E4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118342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 - 2 in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3990430" y="1557380"/>
            <a:ext cx="2013766" cy="1878261"/>
          </a:xfrm>
          <a:custGeom>
            <a:avLst/>
            <a:gdLst>
              <a:gd name="connsiteX0" fmla="*/ 2012943 w 2013766"/>
              <a:gd name="connsiteY0" fmla="*/ 1428735 h 1878261"/>
              <a:gd name="connsiteX1" fmla="*/ 2012943 w 2013766"/>
              <a:gd name="connsiteY1" fmla="*/ -223 h 1878261"/>
              <a:gd name="connsiteX2" fmla="*/ -823 w 2013766"/>
              <a:gd name="connsiteY2" fmla="*/ 1163884 h 1878261"/>
              <a:gd name="connsiteX3" fmla="*/ 523365 w 2013766"/>
              <a:gd name="connsiteY3" fmla="*/ 1466662 h 1878261"/>
              <a:gd name="connsiteX4" fmla="*/ 1236547 w 2013766"/>
              <a:gd name="connsiteY4" fmla="*/ 1878039 h 1878261"/>
              <a:gd name="connsiteX5" fmla="*/ 2012943 w 2013766"/>
              <a:gd name="connsiteY5" fmla="*/ 1428735 h 18782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13766" h="1878261">
                <a:moveTo>
                  <a:pt x="2012943" y="1428735"/>
                </a:moveTo>
                <a:lnTo>
                  <a:pt x="2012943" y="-223"/>
                </a:lnTo>
                <a:cubicBezTo>
                  <a:pt x="1191358" y="33913"/>
                  <a:pt x="438756" y="468954"/>
                  <a:pt x="-823" y="1163884"/>
                </a:cubicBezTo>
                <a:lnTo>
                  <a:pt x="523365" y="1466662"/>
                </a:lnTo>
                <a:lnTo>
                  <a:pt x="1236547" y="1878039"/>
                </a:lnTo>
                <a:cubicBezTo>
                  <a:pt x="1417405" y="1622201"/>
                  <a:pt x="1700991" y="1458072"/>
                  <a:pt x="2012943" y="1428735"/>
                </a:cubicBezTo>
                <a:close/>
              </a:path>
            </a:pathLst>
          </a:custGeom>
          <a:solidFill>
            <a:schemeClr val="accent6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3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3604177" y="2890058"/>
            <a:ext cx="1524750" cy="2325620"/>
          </a:xfrm>
          <a:custGeom>
            <a:avLst/>
            <a:gdLst>
              <a:gd name="connsiteX0" fmla="*/ 1523927 w 1524750"/>
              <a:gd name="connsiteY0" fmla="*/ 712959 h 2325620"/>
              <a:gd name="connsiteX1" fmla="*/ 286557 w 1524750"/>
              <a:gd name="connsiteY1" fmla="*/ -223 h 2325620"/>
              <a:gd name="connsiteX2" fmla="*/ 286557 w 1524750"/>
              <a:gd name="connsiteY2" fmla="*/ 2325398 h 2325620"/>
              <a:gd name="connsiteX3" fmla="*/ 1523927 w 1524750"/>
              <a:gd name="connsiteY3" fmla="*/ 1612216 h 2325620"/>
              <a:gd name="connsiteX4" fmla="*/ 1523927 w 1524750"/>
              <a:gd name="connsiteY4" fmla="*/ 715552 h 2325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24750" h="2325620">
                <a:moveTo>
                  <a:pt x="1523927" y="712959"/>
                </a:moveTo>
                <a:lnTo>
                  <a:pt x="286557" y="-223"/>
                </a:lnTo>
                <a:cubicBezTo>
                  <a:pt x="-96616" y="727644"/>
                  <a:pt x="-96616" y="1597531"/>
                  <a:pt x="286557" y="2325398"/>
                </a:cubicBezTo>
                <a:lnTo>
                  <a:pt x="1523927" y="1612216"/>
                </a:lnTo>
                <a:cubicBezTo>
                  <a:pt x="1392637" y="1327754"/>
                  <a:pt x="1392637" y="1000014"/>
                  <a:pt x="1523927" y="715552"/>
                </a:cubicBezTo>
                <a:close/>
              </a:path>
            </a:pathLst>
          </a:custGeom>
          <a:solidFill>
            <a:schemeClr val="accent5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4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6198700" y="1557380"/>
            <a:ext cx="2015386" cy="1877289"/>
          </a:xfrm>
          <a:custGeom>
            <a:avLst/>
            <a:gdLst>
              <a:gd name="connsiteX0" fmla="*/ 777194 w 2015386"/>
              <a:gd name="connsiteY0" fmla="*/ 1877066 h 1877289"/>
              <a:gd name="connsiteX1" fmla="*/ 2014564 w 2015386"/>
              <a:gd name="connsiteY1" fmla="*/ 1163884 h 1877289"/>
              <a:gd name="connsiteX2" fmla="*/ -823 w 2015386"/>
              <a:gd name="connsiteY2" fmla="*/ -223 h 1877289"/>
              <a:gd name="connsiteX3" fmla="*/ -823 w 2015386"/>
              <a:gd name="connsiteY3" fmla="*/ 1428735 h 1877289"/>
              <a:gd name="connsiteX4" fmla="*/ 777194 w 2015386"/>
              <a:gd name="connsiteY4" fmla="*/ 1877066 h 1877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15386" h="1877289">
                <a:moveTo>
                  <a:pt x="777194" y="1877066"/>
                </a:moveTo>
                <a:lnTo>
                  <a:pt x="2014564" y="1163884"/>
                </a:lnTo>
                <a:cubicBezTo>
                  <a:pt x="1574660" y="468467"/>
                  <a:pt x="821346" y="33362"/>
                  <a:pt x="-823" y="-223"/>
                </a:cubicBezTo>
                <a:lnTo>
                  <a:pt x="-823" y="1428735"/>
                </a:lnTo>
                <a:cubicBezTo>
                  <a:pt x="311550" y="1457391"/>
                  <a:pt x="595786" y="1621163"/>
                  <a:pt x="777194" y="1877066"/>
                </a:cubicBezTo>
                <a:close/>
              </a:path>
            </a:pathLst>
          </a:custGeom>
          <a:solidFill>
            <a:schemeClr val="accent3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5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3989134" y="4668150"/>
            <a:ext cx="2015062" cy="1878586"/>
          </a:xfrm>
          <a:custGeom>
            <a:avLst/>
            <a:gdLst>
              <a:gd name="connsiteX0" fmla="*/ 1236223 w 2015062"/>
              <a:gd name="connsiteY0" fmla="*/ -223 h 1878586"/>
              <a:gd name="connsiteX1" fmla="*/ -823 w 2015062"/>
              <a:gd name="connsiteY1" fmla="*/ 712959 h 1878586"/>
              <a:gd name="connsiteX2" fmla="*/ 2014239 w 2015062"/>
              <a:gd name="connsiteY2" fmla="*/ 1878363 h 1878586"/>
              <a:gd name="connsiteX3" fmla="*/ 2014239 w 2015062"/>
              <a:gd name="connsiteY3" fmla="*/ 448434 h 1878586"/>
              <a:gd name="connsiteX4" fmla="*/ 1236223 w 2015062"/>
              <a:gd name="connsiteY4" fmla="*/ -223 h 18785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15062" h="1878586">
                <a:moveTo>
                  <a:pt x="1236223" y="-223"/>
                </a:moveTo>
                <a:lnTo>
                  <a:pt x="-823" y="712959"/>
                </a:lnTo>
                <a:cubicBezTo>
                  <a:pt x="438820" y="1408668"/>
                  <a:pt x="1191973" y="1844260"/>
                  <a:pt x="2014239" y="1878363"/>
                </a:cubicBezTo>
                <a:lnTo>
                  <a:pt x="2014239" y="448434"/>
                </a:lnTo>
                <a:cubicBezTo>
                  <a:pt x="1701832" y="419615"/>
                  <a:pt x="1417630" y="255713"/>
                  <a:pt x="1236223" y="-223"/>
                </a:cubicBezTo>
                <a:close/>
              </a:path>
            </a:pathLst>
          </a:custGeom>
          <a:solidFill>
            <a:schemeClr val="accent4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6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7073969" y="2887465"/>
            <a:ext cx="1524750" cy="2325620"/>
          </a:xfrm>
          <a:custGeom>
            <a:avLst/>
            <a:gdLst>
              <a:gd name="connsiteX0" fmla="*/ -823 w 1524750"/>
              <a:gd name="connsiteY0" fmla="*/ 715553 h 2325620"/>
              <a:gd name="connsiteX1" fmla="*/ -823 w 1524750"/>
              <a:gd name="connsiteY1" fmla="*/ 1612216 h 2325620"/>
              <a:gd name="connsiteX2" fmla="*/ 1236547 w 1524750"/>
              <a:gd name="connsiteY2" fmla="*/ 2325398 h 2325620"/>
              <a:gd name="connsiteX3" fmla="*/ 1236547 w 1524750"/>
              <a:gd name="connsiteY3" fmla="*/ -223 h 2325620"/>
              <a:gd name="connsiteX4" fmla="*/ 800858 w 1524750"/>
              <a:gd name="connsiteY4" fmla="*/ 251336 h 2325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24750" h="2325620">
                <a:moveTo>
                  <a:pt x="-823" y="715553"/>
                </a:moveTo>
                <a:cubicBezTo>
                  <a:pt x="130467" y="1000015"/>
                  <a:pt x="130467" y="1327754"/>
                  <a:pt x="-823" y="1612216"/>
                </a:cubicBezTo>
                <a:lnTo>
                  <a:pt x="1236547" y="2325398"/>
                </a:lnTo>
                <a:cubicBezTo>
                  <a:pt x="1619720" y="1597532"/>
                  <a:pt x="1619720" y="727644"/>
                  <a:pt x="1236547" y="-223"/>
                </a:cubicBezTo>
                <a:lnTo>
                  <a:pt x="800858" y="251336"/>
                </a:lnTo>
                <a:close/>
              </a:path>
            </a:pathLst>
          </a:custGeom>
          <a:solidFill>
            <a:schemeClr val="accent1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7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6197080" y="4669447"/>
            <a:ext cx="2015386" cy="1877289"/>
          </a:xfrm>
          <a:custGeom>
            <a:avLst/>
            <a:gdLst>
              <a:gd name="connsiteX0" fmla="*/ 2014564 w 2015386"/>
              <a:gd name="connsiteY0" fmla="*/ 712959 h 1877289"/>
              <a:gd name="connsiteX1" fmla="*/ 777194 w 2015386"/>
              <a:gd name="connsiteY1" fmla="*/ -223 h 1877289"/>
              <a:gd name="connsiteX2" fmla="*/ -823 w 2015386"/>
              <a:gd name="connsiteY2" fmla="*/ 448433 h 1877289"/>
              <a:gd name="connsiteX3" fmla="*/ -823 w 2015386"/>
              <a:gd name="connsiteY3" fmla="*/ 1877066 h 1877289"/>
              <a:gd name="connsiteX4" fmla="*/ 2014564 w 2015386"/>
              <a:gd name="connsiteY4" fmla="*/ 712959 h 1877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15386" h="1877289">
                <a:moveTo>
                  <a:pt x="2014564" y="712959"/>
                </a:moveTo>
                <a:lnTo>
                  <a:pt x="777194" y="-223"/>
                </a:lnTo>
                <a:cubicBezTo>
                  <a:pt x="595883" y="255842"/>
                  <a:pt x="311616" y="419776"/>
                  <a:pt x="-823" y="448433"/>
                </a:cubicBezTo>
                <a:lnTo>
                  <a:pt x="-823" y="1877066"/>
                </a:lnTo>
                <a:cubicBezTo>
                  <a:pt x="821312" y="1843352"/>
                  <a:pt x="1574563" y="1408279"/>
                  <a:pt x="2014564" y="712959"/>
                </a:cubicBezTo>
                <a:close/>
              </a:path>
            </a:pathLst>
          </a:custGeom>
          <a:solidFill>
            <a:schemeClr val="accent2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ijdelijke aanduiding voor tekst 11">
            <a:extLst>
              <a:ext uri="{FF2B5EF4-FFF2-40B4-BE49-F238E27FC236}">
                <a16:creationId xmlns:a16="http://schemas.microsoft.com/office/drawing/2014/main" id="{1EDD9556-EE01-4EF9-97AE-8385061BE2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27B899CC-F789-4B53-AC07-F992D39E1970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0661CB57-2B67-460B-8583-FC481646736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020856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41" name="Groep 40">
            <a:extLst>
              <a:ext uri="{FF2B5EF4-FFF2-40B4-BE49-F238E27FC236}">
                <a16:creationId xmlns:a16="http://schemas.microsoft.com/office/drawing/2014/main" id="{0A37B0AA-6828-4A85-A34A-1CDAEF133D09}"/>
              </a:ext>
            </a:extLst>
          </p:cNvPr>
          <p:cNvGrpSpPr/>
          <p:nvPr/>
        </p:nvGrpSpPr>
        <p:grpSpPr>
          <a:xfrm>
            <a:off x="3379559" y="1391096"/>
            <a:ext cx="5420896" cy="5287970"/>
            <a:chOff x="3379559" y="1391096"/>
            <a:chExt cx="5420896" cy="528797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</p:grpSpPr>
        <p:sp>
          <p:nvSpPr>
            <p:cNvPr id="5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4251229" y="1391096"/>
              <a:ext cx="1817966" cy="2020312"/>
            </a:xfrm>
            <a:custGeom>
              <a:avLst/>
              <a:gdLst>
                <a:gd name="connsiteX0" fmla="*/ 1813421 w 1817966"/>
                <a:gd name="connsiteY0" fmla="*/ 1176110 h 2020312"/>
                <a:gd name="connsiteX1" fmla="*/ 1477616 w 1817966"/>
                <a:gd name="connsiteY1" fmla="*/ 1536180 h 2020312"/>
                <a:gd name="connsiteX2" fmla="*/ 1328519 w 1817966"/>
                <a:gd name="connsiteY2" fmla="*/ 2018701 h 2020312"/>
                <a:gd name="connsiteX3" fmla="*/ 686567 w 1817966"/>
                <a:gd name="connsiteY3" fmla="*/ 1788045 h 2020312"/>
                <a:gd name="connsiteX4" fmla="*/ -4321 w 1817966"/>
                <a:gd name="connsiteY4" fmla="*/ 2018701 h 2020312"/>
                <a:gd name="connsiteX5" fmla="*/ 1139608 w 1817966"/>
                <a:gd name="connsiteY5" fmla="*/ -1612 h 2020312"/>
                <a:gd name="connsiteX6" fmla="*/ 1813645 w 1817966"/>
                <a:gd name="connsiteY6" fmla="*/ 433232 h 20203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17966" h="2020312">
                  <a:moveTo>
                    <a:pt x="1813421" y="1176110"/>
                  </a:moveTo>
                  <a:cubicBezTo>
                    <a:pt x="1676231" y="1269801"/>
                    <a:pt x="1561511" y="1392790"/>
                    <a:pt x="1477616" y="1536180"/>
                  </a:cubicBezTo>
                  <a:cubicBezTo>
                    <a:pt x="1391429" y="1683390"/>
                    <a:pt x="1340426" y="1848529"/>
                    <a:pt x="1328519" y="2018701"/>
                  </a:cubicBezTo>
                  <a:lnTo>
                    <a:pt x="686567" y="1788045"/>
                  </a:lnTo>
                  <a:lnTo>
                    <a:pt x="-4321" y="2018701"/>
                  </a:lnTo>
                  <a:cubicBezTo>
                    <a:pt x="20394" y="1197814"/>
                    <a:pt x="448407" y="441904"/>
                    <a:pt x="1139608" y="-1612"/>
                  </a:cubicBezTo>
                  <a:lnTo>
                    <a:pt x="1813645" y="433232"/>
                  </a:ln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5669569" y="1709799"/>
              <a:ext cx="2302779" cy="1475129"/>
            </a:xfrm>
            <a:custGeom>
              <a:avLst/>
              <a:gdLst>
                <a:gd name="connsiteX0" fmla="*/ 2298458 w 2302779"/>
                <a:gd name="connsiteY0" fmla="*/ 289326 h 1475129"/>
                <a:gd name="connsiteX1" fmla="*/ 2251679 w 2302779"/>
                <a:gd name="connsiteY1" fmla="*/ 1043078 h 1475129"/>
                <a:gd name="connsiteX2" fmla="*/ 1631971 w 2302779"/>
                <a:gd name="connsiteY2" fmla="*/ 1467722 h 1475129"/>
                <a:gd name="connsiteX3" fmla="*/ 1404462 w 2302779"/>
                <a:gd name="connsiteY3" fmla="*/ 1389443 h 1475129"/>
                <a:gd name="connsiteX4" fmla="*/ 903965 w 2302779"/>
                <a:gd name="connsiteY4" fmla="*/ 1390926 h 1475129"/>
                <a:gd name="connsiteX5" fmla="*/ 670299 w 2302779"/>
                <a:gd name="connsiteY5" fmla="*/ 1473518 h 1475129"/>
                <a:gd name="connsiteX6" fmla="*/ 694250 w 2302779"/>
                <a:gd name="connsiteY6" fmla="*/ 736032 h 1475129"/>
                <a:gd name="connsiteX7" fmla="*/ -4321 w 2302779"/>
                <a:gd name="connsiteY7" fmla="*/ 294583 h 1475129"/>
                <a:gd name="connsiteX8" fmla="*/ 2298278 w 2302779"/>
                <a:gd name="connsiteY8" fmla="*/ 289326 h 1475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02779" h="1475129">
                  <a:moveTo>
                    <a:pt x="2298458" y="289326"/>
                  </a:moveTo>
                  <a:lnTo>
                    <a:pt x="2251679" y="1043078"/>
                  </a:lnTo>
                  <a:lnTo>
                    <a:pt x="1631971" y="1467722"/>
                  </a:lnTo>
                  <a:cubicBezTo>
                    <a:pt x="1559220" y="1433436"/>
                    <a:pt x="1482920" y="1407193"/>
                    <a:pt x="1404462" y="1389443"/>
                  </a:cubicBezTo>
                  <a:cubicBezTo>
                    <a:pt x="1239637" y="1352326"/>
                    <a:pt x="1068567" y="1352865"/>
                    <a:pt x="903965" y="1390926"/>
                  </a:cubicBezTo>
                  <a:cubicBezTo>
                    <a:pt x="823217" y="1409574"/>
                    <a:pt x="744849" y="1437300"/>
                    <a:pt x="670299" y="1473518"/>
                  </a:cubicBezTo>
                  <a:lnTo>
                    <a:pt x="694250" y="736032"/>
                  </a:lnTo>
                  <a:lnTo>
                    <a:pt x="-4321" y="294583"/>
                  </a:lnTo>
                  <a:cubicBezTo>
                    <a:pt x="712405" y="-98470"/>
                    <a:pt x="1579755" y="-100447"/>
                    <a:pt x="2298278" y="289326"/>
                  </a:cubicBez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6981052" y="2655178"/>
              <a:ext cx="1819403" cy="2291724"/>
            </a:xfrm>
            <a:custGeom>
              <a:avLst/>
              <a:gdLst>
                <a:gd name="connsiteX0" fmla="*/ 1815082 w 1819403"/>
                <a:gd name="connsiteY0" fmla="*/ 2024992 h 2291724"/>
                <a:gd name="connsiteX1" fmla="*/ 1144146 w 1819403"/>
                <a:gd name="connsiteY1" fmla="*/ 2290113 h 2291724"/>
                <a:gd name="connsiteX2" fmla="*/ 492577 w 1819403"/>
                <a:gd name="connsiteY2" fmla="*/ 2025262 h 2291724"/>
                <a:gd name="connsiteX3" fmla="*/ 339795 w 1819403"/>
                <a:gd name="connsiteY3" fmla="*/ 1536405 h 2291724"/>
                <a:gd name="connsiteX4" fmla="*/ -4321 w 1819403"/>
                <a:gd name="connsiteY4" fmla="*/ 1174447 h 2291724"/>
                <a:gd name="connsiteX5" fmla="*/ 575081 w 1819403"/>
                <a:gd name="connsiteY5" fmla="*/ 813568 h 2291724"/>
                <a:gd name="connsiteX6" fmla="*/ 660862 w 1819403"/>
                <a:gd name="connsiteY6" fmla="*/ -1612 h 2291724"/>
                <a:gd name="connsiteX7" fmla="*/ 1815082 w 1819403"/>
                <a:gd name="connsiteY7" fmla="*/ 2024992 h 2291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19403" h="2291724">
                  <a:moveTo>
                    <a:pt x="1815082" y="2024992"/>
                  </a:moveTo>
                  <a:lnTo>
                    <a:pt x="1144146" y="2290113"/>
                  </a:lnTo>
                  <a:lnTo>
                    <a:pt x="492577" y="2025262"/>
                  </a:lnTo>
                  <a:cubicBezTo>
                    <a:pt x="480489" y="1852618"/>
                    <a:pt x="428186" y="1685187"/>
                    <a:pt x="339795" y="1536405"/>
                  </a:cubicBezTo>
                  <a:cubicBezTo>
                    <a:pt x="253744" y="1391442"/>
                    <a:pt x="136103" y="1267734"/>
                    <a:pt x="-4321" y="1174447"/>
                  </a:cubicBezTo>
                  <a:lnTo>
                    <a:pt x="575081" y="813568"/>
                  </a:lnTo>
                  <a:lnTo>
                    <a:pt x="660862" y="-1612"/>
                  </a:lnTo>
                  <a:cubicBezTo>
                    <a:pt x="1357997" y="440601"/>
                    <a:pt x="1790368" y="1199791"/>
                    <a:pt x="1815082" y="2024992"/>
                  </a:cubicBez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6124564" y="4658708"/>
              <a:ext cx="1815989" cy="2020358"/>
            </a:xfrm>
            <a:custGeom>
              <a:avLst/>
              <a:gdLst>
                <a:gd name="connsiteX0" fmla="*/ 1811668 w 1815989"/>
                <a:gd name="connsiteY0" fmla="*/ -1567 h 2020358"/>
                <a:gd name="connsiteX1" fmla="*/ 667379 w 1815989"/>
                <a:gd name="connsiteY1" fmla="*/ 2018746 h 2020358"/>
                <a:gd name="connsiteX2" fmla="*/ 96425 w 1815989"/>
                <a:gd name="connsiteY2" fmla="*/ 1541574 h 2020358"/>
                <a:gd name="connsiteX3" fmla="*/ -4321 w 1815989"/>
                <a:gd name="connsiteY3" fmla="*/ 844799 h 2020358"/>
                <a:gd name="connsiteX4" fmla="*/ 336877 w 1815989"/>
                <a:gd name="connsiteY4" fmla="*/ 484144 h 2020358"/>
                <a:gd name="connsiteX5" fmla="*/ 488805 w 1815989"/>
                <a:gd name="connsiteY5" fmla="*/ -1612 h 2020358"/>
                <a:gd name="connsiteX6" fmla="*/ 1127297 w 1815989"/>
                <a:gd name="connsiteY6" fmla="*/ 251647 h 2020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15989" h="2020358">
                  <a:moveTo>
                    <a:pt x="1811668" y="-1567"/>
                  </a:moveTo>
                  <a:cubicBezTo>
                    <a:pt x="1786864" y="819411"/>
                    <a:pt x="1358716" y="1575320"/>
                    <a:pt x="667379" y="2018746"/>
                  </a:cubicBezTo>
                  <a:lnTo>
                    <a:pt x="96425" y="1541574"/>
                  </a:lnTo>
                  <a:lnTo>
                    <a:pt x="-4321" y="844799"/>
                  </a:lnTo>
                  <a:cubicBezTo>
                    <a:pt x="134890" y="751557"/>
                    <a:pt x="251499" y="628299"/>
                    <a:pt x="336877" y="484144"/>
                  </a:cubicBezTo>
                  <a:cubicBezTo>
                    <a:pt x="424502" y="336171"/>
                    <a:pt x="476492" y="169909"/>
                    <a:pt x="488805" y="-1612"/>
                  </a:cubicBezTo>
                  <a:lnTo>
                    <a:pt x="1127297" y="251647"/>
                  </a:ln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3379559" y="3176138"/>
              <a:ext cx="1823763" cy="2237128"/>
            </a:xfrm>
            <a:custGeom>
              <a:avLst/>
              <a:gdLst>
                <a:gd name="connsiteX0" fmla="*/ 1819442 w 1823763"/>
                <a:gd name="connsiteY0" fmla="*/ 1052807 h 2237128"/>
                <a:gd name="connsiteX1" fmla="*/ 1292210 w 1823763"/>
                <a:gd name="connsiteY1" fmla="*/ 1488684 h 2237128"/>
                <a:gd name="connsiteX2" fmla="*/ 1149899 w 1823763"/>
                <a:gd name="connsiteY2" fmla="*/ 2235517 h 2237128"/>
                <a:gd name="connsiteX3" fmla="*/ -4321 w 1823763"/>
                <a:gd name="connsiteY3" fmla="*/ 208553 h 2237128"/>
                <a:gd name="connsiteX4" fmla="*/ 657492 w 1823763"/>
                <a:gd name="connsiteY4" fmla="*/ -1612 h 2237128"/>
                <a:gd name="connsiteX5" fmla="*/ 1328922 w 1823763"/>
                <a:gd name="connsiteY5" fmla="*/ 208553 h 2237128"/>
                <a:gd name="connsiteX6" fmla="*/ 1480043 w 1823763"/>
                <a:gd name="connsiteY6" fmla="*/ 692781 h 2237128"/>
                <a:gd name="connsiteX7" fmla="*/ 1819442 w 1823763"/>
                <a:gd name="connsiteY7" fmla="*/ 1052807 h 2237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23763" h="2237128">
                  <a:moveTo>
                    <a:pt x="1819442" y="1052807"/>
                  </a:moveTo>
                  <a:lnTo>
                    <a:pt x="1292210" y="1488684"/>
                  </a:lnTo>
                  <a:lnTo>
                    <a:pt x="1149899" y="2235517"/>
                  </a:lnTo>
                  <a:cubicBezTo>
                    <a:pt x="452900" y="1792989"/>
                    <a:pt x="20617" y="1033754"/>
                    <a:pt x="-4321" y="208553"/>
                  </a:cubicBezTo>
                  <a:lnTo>
                    <a:pt x="657492" y="-1612"/>
                  </a:lnTo>
                  <a:lnTo>
                    <a:pt x="1328922" y="208553"/>
                  </a:lnTo>
                  <a:cubicBezTo>
                    <a:pt x="1341236" y="379444"/>
                    <a:pt x="1392956" y="545213"/>
                    <a:pt x="1480043" y="692781"/>
                  </a:cubicBezTo>
                  <a:cubicBezTo>
                    <a:pt x="1564971" y="836575"/>
                    <a:pt x="1680905" y="959565"/>
                    <a:pt x="1819442" y="1052807"/>
                  </a:cubicBez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4219616" y="4885164"/>
              <a:ext cx="2302239" cy="1474744"/>
            </a:xfrm>
            <a:custGeom>
              <a:avLst/>
              <a:gdLst>
                <a:gd name="connsiteX0" fmla="*/ 2297918 w 2302239"/>
                <a:gd name="connsiteY0" fmla="*/ 1176919 h 1474744"/>
                <a:gd name="connsiteX1" fmla="*/ -4321 w 2302239"/>
                <a:gd name="connsiteY1" fmla="*/ 1182716 h 1474744"/>
                <a:gd name="connsiteX2" fmla="*/ 135697 w 2302239"/>
                <a:gd name="connsiteY2" fmla="*/ 459250 h 1474744"/>
                <a:gd name="connsiteX3" fmla="*/ 665940 w 2302239"/>
                <a:gd name="connsiteY3" fmla="*/ -1612 h 1474744"/>
                <a:gd name="connsiteX4" fmla="*/ 1395652 w 2302239"/>
                <a:gd name="connsiteY4" fmla="*/ 79273 h 1474744"/>
                <a:gd name="connsiteX5" fmla="*/ 1624601 w 2302239"/>
                <a:gd name="connsiteY5" fmla="*/ 6 h 1474744"/>
                <a:gd name="connsiteX6" fmla="*/ 1695869 w 2302239"/>
                <a:gd name="connsiteY6" fmla="*/ 682490 h 1474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02239" h="1474744">
                  <a:moveTo>
                    <a:pt x="2297918" y="1176919"/>
                  </a:moveTo>
                  <a:cubicBezTo>
                    <a:pt x="1581326" y="1569793"/>
                    <a:pt x="714246" y="1571995"/>
                    <a:pt x="-4321" y="1182716"/>
                  </a:cubicBezTo>
                  <a:lnTo>
                    <a:pt x="135697" y="459250"/>
                  </a:lnTo>
                  <a:lnTo>
                    <a:pt x="665940" y="-1612"/>
                  </a:lnTo>
                  <a:cubicBezTo>
                    <a:pt x="893271" y="106324"/>
                    <a:pt x="1150213" y="134814"/>
                    <a:pt x="1395652" y="79273"/>
                  </a:cubicBezTo>
                  <a:cubicBezTo>
                    <a:pt x="1474650" y="61298"/>
                    <a:pt x="1551401" y="34742"/>
                    <a:pt x="1624601" y="6"/>
                  </a:cubicBezTo>
                  <a:lnTo>
                    <a:pt x="1695869" y="682490"/>
                  </a:ln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ijdelijke aanduiding voor tekst 11">
            <a:extLst>
              <a:ext uri="{FF2B5EF4-FFF2-40B4-BE49-F238E27FC236}">
                <a16:creationId xmlns:a16="http://schemas.microsoft.com/office/drawing/2014/main" id="{57FB1A36-5430-45DC-AD88-3BD8847AB1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0C7EA4DD-F03C-43E6-AD43-DE68E53E4EFF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8482F9D7-4D91-4F9E-B438-FFF0D2AE7E4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87376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ep 17">
            <a:extLst>
              <a:ext uri="{FF2B5EF4-FFF2-40B4-BE49-F238E27FC236}">
                <a16:creationId xmlns:a16="http://schemas.microsoft.com/office/drawing/2014/main" id="{3D09DD10-DF93-4B73-9390-3ABEB1A6BD55}"/>
              </a:ext>
            </a:extLst>
          </p:cNvPr>
          <p:cNvGrpSpPr/>
          <p:nvPr/>
        </p:nvGrpSpPr>
        <p:grpSpPr>
          <a:xfrm>
            <a:off x="3604177" y="1557380"/>
            <a:ext cx="4994542" cy="4989356"/>
            <a:chOff x="3604177" y="1557380"/>
            <a:chExt cx="4994542" cy="4989356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</p:grpSpPr>
        <p:sp>
          <p:nvSpPr>
            <p:cNvPr id="12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3990430" y="1557380"/>
              <a:ext cx="2013766" cy="1878261"/>
            </a:xfrm>
            <a:custGeom>
              <a:avLst/>
              <a:gdLst>
                <a:gd name="connsiteX0" fmla="*/ 2012943 w 2013766"/>
                <a:gd name="connsiteY0" fmla="*/ 1428735 h 1878261"/>
                <a:gd name="connsiteX1" fmla="*/ 2012943 w 2013766"/>
                <a:gd name="connsiteY1" fmla="*/ -223 h 1878261"/>
                <a:gd name="connsiteX2" fmla="*/ -823 w 2013766"/>
                <a:gd name="connsiteY2" fmla="*/ 1163884 h 1878261"/>
                <a:gd name="connsiteX3" fmla="*/ 523365 w 2013766"/>
                <a:gd name="connsiteY3" fmla="*/ 1466662 h 1878261"/>
                <a:gd name="connsiteX4" fmla="*/ 1236547 w 2013766"/>
                <a:gd name="connsiteY4" fmla="*/ 1878039 h 1878261"/>
                <a:gd name="connsiteX5" fmla="*/ 2012943 w 2013766"/>
                <a:gd name="connsiteY5" fmla="*/ 1428735 h 1878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13766" h="1878261">
                  <a:moveTo>
                    <a:pt x="2012943" y="1428735"/>
                  </a:moveTo>
                  <a:lnTo>
                    <a:pt x="2012943" y="-223"/>
                  </a:lnTo>
                  <a:cubicBezTo>
                    <a:pt x="1191358" y="33913"/>
                    <a:pt x="438756" y="468954"/>
                    <a:pt x="-823" y="1163884"/>
                  </a:cubicBezTo>
                  <a:lnTo>
                    <a:pt x="523365" y="1466662"/>
                  </a:lnTo>
                  <a:lnTo>
                    <a:pt x="1236547" y="1878039"/>
                  </a:lnTo>
                  <a:cubicBezTo>
                    <a:pt x="1417405" y="1622201"/>
                    <a:pt x="1700991" y="1458072"/>
                    <a:pt x="2012943" y="1428735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3604177" y="2890058"/>
              <a:ext cx="1524750" cy="2325620"/>
            </a:xfrm>
            <a:custGeom>
              <a:avLst/>
              <a:gdLst>
                <a:gd name="connsiteX0" fmla="*/ 1523927 w 1524750"/>
                <a:gd name="connsiteY0" fmla="*/ 712959 h 2325620"/>
                <a:gd name="connsiteX1" fmla="*/ 286557 w 1524750"/>
                <a:gd name="connsiteY1" fmla="*/ -223 h 2325620"/>
                <a:gd name="connsiteX2" fmla="*/ 286557 w 1524750"/>
                <a:gd name="connsiteY2" fmla="*/ 2325398 h 2325620"/>
                <a:gd name="connsiteX3" fmla="*/ 1523927 w 1524750"/>
                <a:gd name="connsiteY3" fmla="*/ 1612216 h 2325620"/>
                <a:gd name="connsiteX4" fmla="*/ 1523927 w 1524750"/>
                <a:gd name="connsiteY4" fmla="*/ 715552 h 2325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750" h="2325620">
                  <a:moveTo>
                    <a:pt x="1523927" y="712959"/>
                  </a:moveTo>
                  <a:lnTo>
                    <a:pt x="286557" y="-223"/>
                  </a:lnTo>
                  <a:cubicBezTo>
                    <a:pt x="-96616" y="727644"/>
                    <a:pt x="-96616" y="1597531"/>
                    <a:pt x="286557" y="2325398"/>
                  </a:cubicBezTo>
                  <a:lnTo>
                    <a:pt x="1523927" y="1612216"/>
                  </a:lnTo>
                  <a:cubicBezTo>
                    <a:pt x="1392637" y="1327754"/>
                    <a:pt x="1392637" y="1000014"/>
                    <a:pt x="1523927" y="715552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6198700" y="1557380"/>
              <a:ext cx="2015386" cy="1877289"/>
            </a:xfrm>
            <a:custGeom>
              <a:avLst/>
              <a:gdLst>
                <a:gd name="connsiteX0" fmla="*/ 777194 w 2015386"/>
                <a:gd name="connsiteY0" fmla="*/ 1877066 h 1877289"/>
                <a:gd name="connsiteX1" fmla="*/ 2014564 w 2015386"/>
                <a:gd name="connsiteY1" fmla="*/ 1163884 h 1877289"/>
                <a:gd name="connsiteX2" fmla="*/ -823 w 2015386"/>
                <a:gd name="connsiteY2" fmla="*/ -223 h 1877289"/>
                <a:gd name="connsiteX3" fmla="*/ -823 w 2015386"/>
                <a:gd name="connsiteY3" fmla="*/ 1428735 h 1877289"/>
                <a:gd name="connsiteX4" fmla="*/ 777194 w 2015386"/>
                <a:gd name="connsiteY4" fmla="*/ 1877066 h 1877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5386" h="1877289">
                  <a:moveTo>
                    <a:pt x="777194" y="1877066"/>
                  </a:moveTo>
                  <a:lnTo>
                    <a:pt x="2014564" y="1163884"/>
                  </a:lnTo>
                  <a:cubicBezTo>
                    <a:pt x="1574660" y="468467"/>
                    <a:pt x="821346" y="33362"/>
                    <a:pt x="-823" y="-223"/>
                  </a:cubicBezTo>
                  <a:lnTo>
                    <a:pt x="-823" y="1428735"/>
                  </a:lnTo>
                  <a:cubicBezTo>
                    <a:pt x="311550" y="1457391"/>
                    <a:pt x="595786" y="1621163"/>
                    <a:pt x="777194" y="1877066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3989134" y="4668150"/>
              <a:ext cx="2015062" cy="1878586"/>
            </a:xfrm>
            <a:custGeom>
              <a:avLst/>
              <a:gdLst>
                <a:gd name="connsiteX0" fmla="*/ 1236223 w 2015062"/>
                <a:gd name="connsiteY0" fmla="*/ -223 h 1878586"/>
                <a:gd name="connsiteX1" fmla="*/ -823 w 2015062"/>
                <a:gd name="connsiteY1" fmla="*/ 712959 h 1878586"/>
                <a:gd name="connsiteX2" fmla="*/ 2014239 w 2015062"/>
                <a:gd name="connsiteY2" fmla="*/ 1878363 h 1878586"/>
                <a:gd name="connsiteX3" fmla="*/ 2014239 w 2015062"/>
                <a:gd name="connsiteY3" fmla="*/ 448434 h 1878586"/>
                <a:gd name="connsiteX4" fmla="*/ 1236223 w 2015062"/>
                <a:gd name="connsiteY4" fmla="*/ -223 h 1878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5062" h="1878586">
                  <a:moveTo>
                    <a:pt x="1236223" y="-223"/>
                  </a:moveTo>
                  <a:lnTo>
                    <a:pt x="-823" y="712959"/>
                  </a:lnTo>
                  <a:cubicBezTo>
                    <a:pt x="438820" y="1408668"/>
                    <a:pt x="1191973" y="1844260"/>
                    <a:pt x="2014239" y="1878363"/>
                  </a:cubicBezTo>
                  <a:lnTo>
                    <a:pt x="2014239" y="448434"/>
                  </a:lnTo>
                  <a:cubicBezTo>
                    <a:pt x="1701832" y="419615"/>
                    <a:pt x="1417630" y="255713"/>
                    <a:pt x="1236223" y="-223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7073969" y="2887465"/>
              <a:ext cx="1524750" cy="2325620"/>
            </a:xfrm>
            <a:custGeom>
              <a:avLst/>
              <a:gdLst>
                <a:gd name="connsiteX0" fmla="*/ -823 w 1524750"/>
                <a:gd name="connsiteY0" fmla="*/ 715553 h 2325620"/>
                <a:gd name="connsiteX1" fmla="*/ -823 w 1524750"/>
                <a:gd name="connsiteY1" fmla="*/ 1612216 h 2325620"/>
                <a:gd name="connsiteX2" fmla="*/ 1236547 w 1524750"/>
                <a:gd name="connsiteY2" fmla="*/ 2325398 h 2325620"/>
                <a:gd name="connsiteX3" fmla="*/ 1236547 w 1524750"/>
                <a:gd name="connsiteY3" fmla="*/ -223 h 2325620"/>
                <a:gd name="connsiteX4" fmla="*/ 800858 w 1524750"/>
                <a:gd name="connsiteY4" fmla="*/ 251336 h 2325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750" h="2325620">
                  <a:moveTo>
                    <a:pt x="-823" y="715553"/>
                  </a:moveTo>
                  <a:cubicBezTo>
                    <a:pt x="130467" y="1000015"/>
                    <a:pt x="130467" y="1327754"/>
                    <a:pt x="-823" y="1612216"/>
                  </a:cubicBezTo>
                  <a:lnTo>
                    <a:pt x="1236547" y="2325398"/>
                  </a:lnTo>
                  <a:cubicBezTo>
                    <a:pt x="1619720" y="1597532"/>
                    <a:pt x="1619720" y="727644"/>
                    <a:pt x="1236547" y="-223"/>
                  </a:cubicBezTo>
                  <a:lnTo>
                    <a:pt x="800858" y="251336"/>
                  </a:ln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6197080" y="4669447"/>
              <a:ext cx="2015386" cy="1877289"/>
            </a:xfrm>
            <a:custGeom>
              <a:avLst/>
              <a:gdLst>
                <a:gd name="connsiteX0" fmla="*/ 2014564 w 2015386"/>
                <a:gd name="connsiteY0" fmla="*/ 712959 h 1877289"/>
                <a:gd name="connsiteX1" fmla="*/ 777194 w 2015386"/>
                <a:gd name="connsiteY1" fmla="*/ -223 h 1877289"/>
                <a:gd name="connsiteX2" fmla="*/ -823 w 2015386"/>
                <a:gd name="connsiteY2" fmla="*/ 448433 h 1877289"/>
                <a:gd name="connsiteX3" fmla="*/ -823 w 2015386"/>
                <a:gd name="connsiteY3" fmla="*/ 1877066 h 1877289"/>
                <a:gd name="connsiteX4" fmla="*/ 2014564 w 2015386"/>
                <a:gd name="connsiteY4" fmla="*/ 712959 h 1877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5386" h="1877289">
                  <a:moveTo>
                    <a:pt x="2014564" y="712959"/>
                  </a:moveTo>
                  <a:lnTo>
                    <a:pt x="777194" y="-223"/>
                  </a:lnTo>
                  <a:cubicBezTo>
                    <a:pt x="595883" y="255842"/>
                    <a:pt x="311616" y="419776"/>
                    <a:pt x="-823" y="448433"/>
                  </a:cubicBezTo>
                  <a:lnTo>
                    <a:pt x="-823" y="1877066"/>
                  </a:lnTo>
                  <a:cubicBezTo>
                    <a:pt x="821312" y="1843352"/>
                    <a:pt x="1574563" y="1408279"/>
                    <a:pt x="2014564" y="712959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ijdelijke aanduiding voor tekst 11">
            <a:extLst>
              <a:ext uri="{FF2B5EF4-FFF2-40B4-BE49-F238E27FC236}">
                <a16:creationId xmlns:a16="http://schemas.microsoft.com/office/drawing/2014/main" id="{1EDD9556-EE01-4EF9-97AE-8385061BE2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27B899CC-F789-4B53-AC07-F992D39E1970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0661CB57-2B67-460B-8583-FC481646736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067790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5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cxnSp>
        <p:nvCxnSpPr>
          <p:cNvPr id="9" name="Rechte verbindingslijn 8">
            <a:extLst>
              <a:ext uri="{FF2B5EF4-FFF2-40B4-BE49-F238E27FC236}">
                <a16:creationId xmlns:a16="http://schemas.microsoft.com/office/drawing/2014/main" id="{498B4DCE-2704-40D5-AFF2-FF3510C238F1}"/>
              </a:ext>
            </a:extLst>
          </p:cNvPr>
          <p:cNvCxnSpPr/>
          <p:nvPr/>
        </p:nvCxnSpPr>
        <p:spPr>
          <a:xfrm>
            <a:off x="1729824" y="3517948"/>
            <a:ext cx="0" cy="116006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ijdelijke aanduiding voor tekst 11">
            <a:extLst>
              <a:ext uri="{FF2B5EF4-FFF2-40B4-BE49-F238E27FC236}">
                <a16:creationId xmlns:a16="http://schemas.microsoft.com/office/drawing/2014/main" id="{80F700A6-B198-4148-80A5-AF17F78C934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147" y="4851451"/>
            <a:ext cx="2510881" cy="1154361"/>
          </a:xfrm>
        </p:spPr>
        <p:txBody>
          <a:bodyPr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0" name="Rechte verbindingslijn 39">
            <a:extLst>
              <a:ext uri="{FF2B5EF4-FFF2-40B4-BE49-F238E27FC236}">
                <a16:creationId xmlns:a16="http://schemas.microsoft.com/office/drawing/2014/main" id="{D33FE0A0-4B7D-426F-A670-0313E74E861E}"/>
              </a:ext>
            </a:extLst>
          </p:cNvPr>
          <p:cNvCxnSpPr/>
          <p:nvPr/>
        </p:nvCxnSpPr>
        <p:spPr>
          <a:xfrm>
            <a:off x="6106500" y="3517948"/>
            <a:ext cx="0" cy="1160060"/>
          </a:xfrm>
          <a:prstGeom prst="line">
            <a:avLst/>
          </a:prstGeom>
          <a:ln w="19050">
            <a:solidFill>
              <a:srgbClr val="FF7A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ijdelijke aanduiding voor tekst 11">
            <a:extLst>
              <a:ext uri="{FF2B5EF4-FFF2-40B4-BE49-F238E27FC236}">
                <a16:creationId xmlns:a16="http://schemas.microsoft.com/office/drawing/2014/main" id="{CADC3538-E5D6-45E1-A0AB-4E99727BD91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855823" y="4851451"/>
            <a:ext cx="2510881" cy="1154361"/>
          </a:xfrm>
        </p:spPr>
        <p:txBody>
          <a:bodyPr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2" name="Rechte verbindingslijn 41">
            <a:extLst>
              <a:ext uri="{FF2B5EF4-FFF2-40B4-BE49-F238E27FC236}">
                <a16:creationId xmlns:a16="http://schemas.microsoft.com/office/drawing/2014/main" id="{FE017B11-C244-434F-929C-0784042EC907}"/>
              </a:ext>
            </a:extLst>
          </p:cNvPr>
          <p:cNvCxnSpPr/>
          <p:nvPr/>
        </p:nvCxnSpPr>
        <p:spPr>
          <a:xfrm>
            <a:off x="10508878" y="3517948"/>
            <a:ext cx="0" cy="116006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ijdelijke aanduiding voor tekst 11">
            <a:extLst>
              <a:ext uri="{FF2B5EF4-FFF2-40B4-BE49-F238E27FC236}">
                <a16:creationId xmlns:a16="http://schemas.microsoft.com/office/drawing/2014/main" id="{7C33880C-2605-40BC-8CC8-EEE1D1900D7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258201" y="4851451"/>
            <a:ext cx="2510881" cy="1154361"/>
          </a:xfrm>
        </p:spPr>
        <p:txBody>
          <a:bodyPr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4" name="Rechte verbindingslijn 43">
            <a:extLst>
              <a:ext uri="{FF2B5EF4-FFF2-40B4-BE49-F238E27FC236}">
                <a16:creationId xmlns:a16="http://schemas.microsoft.com/office/drawing/2014/main" id="{353B1555-FDDB-4621-BE82-AE12B1A72360}"/>
              </a:ext>
            </a:extLst>
          </p:cNvPr>
          <p:cNvCxnSpPr/>
          <p:nvPr/>
        </p:nvCxnSpPr>
        <p:spPr>
          <a:xfrm>
            <a:off x="3920131" y="3269509"/>
            <a:ext cx="0" cy="1160060"/>
          </a:xfrm>
          <a:prstGeom prst="line">
            <a:avLst/>
          </a:prstGeom>
          <a:ln w="19050">
            <a:solidFill>
              <a:srgbClr val="FF841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ijdelijke aanduiding voor tekst 11">
            <a:extLst>
              <a:ext uri="{FF2B5EF4-FFF2-40B4-BE49-F238E27FC236}">
                <a16:creationId xmlns:a16="http://schemas.microsoft.com/office/drawing/2014/main" id="{CC49ADED-9845-4F27-AD1D-83B9AF69B21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658726" y="1961626"/>
            <a:ext cx="2510881" cy="1160060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6" name="Rechte verbindingslijn 45">
            <a:extLst>
              <a:ext uri="{FF2B5EF4-FFF2-40B4-BE49-F238E27FC236}">
                <a16:creationId xmlns:a16="http://schemas.microsoft.com/office/drawing/2014/main" id="{178A62CD-F80E-4B85-A96E-E6E982B911E9}"/>
              </a:ext>
            </a:extLst>
          </p:cNvPr>
          <p:cNvCxnSpPr/>
          <p:nvPr/>
        </p:nvCxnSpPr>
        <p:spPr>
          <a:xfrm>
            <a:off x="8285323" y="3269509"/>
            <a:ext cx="0" cy="1160060"/>
          </a:xfrm>
          <a:prstGeom prst="line">
            <a:avLst/>
          </a:prstGeom>
          <a:ln w="19050">
            <a:solidFill>
              <a:srgbClr val="FF69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ijdelijke aanduiding voor tekst 11">
            <a:extLst>
              <a:ext uri="{FF2B5EF4-FFF2-40B4-BE49-F238E27FC236}">
                <a16:creationId xmlns:a16="http://schemas.microsoft.com/office/drawing/2014/main" id="{517B8485-E6B7-4B58-A92D-95A6E3DC259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023918" y="1961626"/>
            <a:ext cx="2510881" cy="1160060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7" name="Groep 6">
            <a:extLst>
              <a:ext uri="{FF2B5EF4-FFF2-40B4-BE49-F238E27FC236}">
                <a16:creationId xmlns:a16="http://schemas.microsoft.com/office/drawing/2014/main" id="{46A9B1A9-0FF1-4592-AAD4-7197D0D6927B}"/>
              </a:ext>
            </a:extLst>
          </p:cNvPr>
          <p:cNvGrpSpPr/>
          <p:nvPr/>
        </p:nvGrpSpPr>
        <p:grpSpPr>
          <a:xfrm>
            <a:off x="850232" y="2933444"/>
            <a:ext cx="10506076" cy="2064357"/>
            <a:chOff x="1607298" y="2320542"/>
            <a:chExt cx="11440281" cy="2247921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</p:grpSpPr>
        <p:sp>
          <p:nvSpPr>
            <p:cNvPr id="5" name="Graphic 3">
              <a:extLst>
                <a:ext uri="{FF2B5EF4-FFF2-40B4-BE49-F238E27FC236}">
                  <a16:creationId xmlns:a16="http://schemas.microsoft.com/office/drawing/2014/main" id="{34FC95EC-A784-4490-8B22-EDDD0F141F40}"/>
                </a:ext>
              </a:extLst>
            </p:cNvPr>
            <p:cNvSpPr/>
            <p:nvPr/>
          </p:nvSpPr>
          <p:spPr>
            <a:xfrm rot="2700000">
              <a:off x="1607298" y="2333873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" name="Graphic 3">
              <a:extLst>
                <a:ext uri="{FF2B5EF4-FFF2-40B4-BE49-F238E27FC236}">
                  <a16:creationId xmlns:a16="http://schemas.microsoft.com/office/drawing/2014/main" id="{E4734907-6B2B-4F61-91A1-5C684C8AC19F}"/>
                </a:ext>
              </a:extLst>
            </p:cNvPr>
            <p:cNvSpPr/>
            <p:nvPr userDrawn="1"/>
          </p:nvSpPr>
          <p:spPr>
            <a:xfrm rot="13500000">
              <a:off x="3988994" y="2652850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" name="Graphic 3">
              <a:extLst>
                <a:ext uri="{FF2B5EF4-FFF2-40B4-BE49-F238E27FC236}">
                  <a16:creationId xmlns:a16="http://schemas.microsoft.com/office/drawing/2014/main" id="{19BBAD39-B46C-4BF9-B89A-61D77733B6D7}"/>
                </a:ext>
              </a:extLst>
            </p:cNvPr>
            <p:cNvSpPr/>
            <p:nvPr/>
          </p:nvSpPr>
          <p:spPr>
            <a:xfrm rot="2700000">
              <a:off x="6374818" y="2330914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" name="Graphic 3">
              <a:extLst>
                <a:ext uri="{FF2B5EF4-FFF2-40B4-BE49-F238E27FC236}">
                  <a16:creationId xmlns:a16="http://schemas.microsoft.com/office/drawing/2014/main" id="{6A2C120C-4E53-4D7C-91E8-420768E4BF9B}"/>
                </a:ext>
              </a:extLst>
            </p:cNvPr>
            <p:cNvSpPr/>
            <p:nvPr userDrawn="1"/>
          </p:nvSpPr>
          <p:spPr>
            <a:xfrm rot="13500000">
              <a:off x="8749686" y="2642478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3" name="Graphic 3">
              <a:extLst>
                <a:ext uri="{FF2B5EF4-FFF2-40B4-BE49-F238E27FC236}">
                  <a16:creationId xmlns:a16="http://schemas.microsoft.com/office/drawing/2014/main" id="{E95C94CA-F2FD-4543-A9C3-B15FAD64980B}"/>
                </a:ext>
              </a:extLst>
            </p:cNvPr>
            <p:cNvSpPr/>
            <p:nvPr userDrawn="1"/>
          </p:nvSpPr>
          <p:spPr>
            <a:xfrm rot="2700000">
              <a:off x="11131966" y="2320542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3650A98E-55EC-485D-B218-F494F76EC3C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16B51E7-0FC1-41CA-9BCB-F5095E1C0070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659281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v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media 2"/>
          <p:cNvSpPr>
            <a:spLocks noGrp="1"/>
          </p:cNvSpPr>
          <p:nvPr>
            <p:ph type="media" sz="quarter" idx="10"/>
          </p:nvPr>
        </p:nvSpPr>
        <p:spPr>
          <a:xfrm>
            <a:off x="0" y="0"/>
            <a:ext cx="12192000" cy="6858000"/>
          </a:xfrm>
        </p:spPr>
        <p:txBody>
          <a:bodyPr rtlCol="0" anchor="ctr">
            <a:noAutofit/>
          </a:bodyPr>
          <a:lstStyle>
            <a:lvl1pPr marL="0" indent="0" algn="ctr">
              <a:buNone/>
              <a:defRPr sz="1600" b="0" baseline="0"/>
            </a:lvl1pPr>
          </a:lstStyle>
          <a:p>
            <a:pPr lvl="0"/>
            <a:r>
              <a:rPr lang="en-US" noProof="0"/>
              <a:t>Click icon to add media</a:t>
            </a:r>
            <a:endParaRPr lang="nl-BE" noProof="0" dirty="0"/>
          </a:p>
        </p:txBody>
      </p:sp>
      <p:sp>
        <p:nvSpPr>
          <p:cNvPr id="8" name="Tijdelijke aanduiding voor tekst 7"/>
          <p:cNvSpPr>
            <a:spLocks noGrp="1"/>
          </p:cNvSpPr>
          <p:nvPr>
            <p:ph type="body" sz="quarter" idx="11"/>
          </p:nvPr>
        </p:nvSpPr>
        <p:spPr>
          <a:xfrm>
            <a:off x="5556609" y="3330933"/>
            <a:ext cx="1078786" cy="107878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 algn="ctr">
              <a:buNone/>
              <a:defRPr sz="133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jdelijke aanduiding voor tekst 9"/>
          <p:cNvSpPr>
            <a:spLocks noGrp="1"/>
          </p:cNvSpPr>
          <p:nvPr>
            <p:ph type="body" sz="quarter" idx="12"/>
          </p:nvPr>
        </p:nvSpPr>
        <p:spPr>
          <a:xfrm>
            <a:off x="420284" y="3870325"/>
            <a:ext cx="5040000" cy="36000"/>
          </a:xfrm>
          <a:solidFill>
            <a:schemeClr val="accent2"/>
          </a:solidFill>
        </p:spPr>
        <p:txBody>
          <a:bodyPr/>
          <a:lstStyle>
            <a:lvl1pPr marL="0" indent="0">
              <a:buNone/>
              <a:defRPr sz="133">
                <a:noFill/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jdelijke aanduiding voor tekst 9"/>
          <p:cNvSpPr>
            <a:spLocks noGrp="1"/>
          </p:cNvSpPr>
          <p:nvPr>
            <p:ph type="body" sz="quarter" idx="13"/>
          </p:nvPr>
        </p:nvSpPr>
        <p:spPr>
          <a:xfrm>
            <a:off x="6731716" y="3870325"/>
            <a:ext cx="5040000" cy="36000"/>
          </a:xfrm>
          <a:solidFill>
            <a:schemeClr val="accent2"/>
          </a:solidFill>
        </p:spPr>
        <p:txBody>
          <a:bodyPr/>
          <a:lstStyle>
            <a:lvl1pPr marL="0" indent="0">
              <a:buNone/>
              <a:defRPr sz="133">
                <a:noFill/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Rechthoek 38">
            <a:extLst>
              <a:ext uri="{FF2B5EF4-FFF2-40B4-BE49-F238E27FC236}">
                <a16:creationId xmlns:a16="http://schemas.microsoft.com/office/drawing/2014/main" id="{1CEEFD70-3144-4EA9-A60E-E1C7E6D18F62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40" name="Rechte verbindingslijn 39">
            <a:extLst>
              <a:ext uri="{FF2B5EF4-FFF2-40B4-BE49-F238E27FC236}">
                <a16:creationId xmlns:a16="http://schemas.microsoft.com/office/drawing/2014/main" id="{47A48878-0506-4E44-8B23-5D499E8B78FA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41" name="Tekstvak 40">
            <a:extLst>
              <a:ext uri="{FF2B5EF4-FFF2-40B4-BE49-F238E27FC236}">
                <a16:creationId xmlns:a16="http://schemas.microsoft.com/office/drawing/2014/main" id="{623AB98F-8702-466D-99CA-0D09D5974147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42" name="Groep 41">
            <a:extLst>
              <a:ext uri="{FF2B5EF4-FFF2-40B4-BE49-F238E27FC236}">
                <a16:creationId xmlns:a16="http://schemas.microsoft.com/office/drawing/2014/main" id="{B0D1267B-CF7E-4450-8B48-59FA4F5A53D3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43" name="Rechthoek 42">
              <a:extLst>
                <a:ext uri="{FF2B5EF4-FFF2-40B4-BE49-F238E27FC236}">
                  <a16:creationId xmlns:a16="http://schemas.microsoft.com/office/drawing/2014/main" id="{F1DBA30E-3AC9-4705-972F-432EBD384C4D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44" name="Gelijkbenige driehoek 128">
              <a:extLst>
                <a:ext uri="{FF2B5EF4-FFF2-40B4-BE49-F238E27FC236}">
                  <a16:creationId xmlns:a16="http://schemas.microsoft.com/office/drawing/2014/main" id="{72AE8D8B-3EA6-431B-9403-F78DC77A59CF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45" name="Ovaal 44">
              <a:extLst>
                <a:ext uri="{FF2B5EF4-FFF2-40B4-BE49-F238E27FC236}">
                  <a16:creationId xmlns:a16="http://schemas.microsoft.com/office/drawing/2014/main" id="{2598491F-B788-4AAC-BFBC-1A5E9F22C49E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46" name="Rechthoek 45">
              <a:extLst>
                <a:ext uri="{FF2B5EF4-FFF2-40B4-BE49-F238E27FC236}">
                  <a16:creationId xmlns:a16="http://schemas.microsoft.com/office/drawing/2014/main" id="{7D1AA91D-8A0E-418A-8A15-568986FDDCC3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47" name="Rechte verbindingslijn 46">
              <a:extLst>
                <a:ext uri="{FF2B5EF4-FFF2-40B4-BE49-F238E27FC236}">
                  <a16:creationId xmlns:a16="http://schemas.microsoft.com/office/drawing/2014/main" id="{C2DCC380-E160-4F6C-BEC6-78AA43095A5C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48" name="Tekstvak 47">
            <a:extLst>
              <a:ext uri="{FF2B5EF4-FFF2-40B4-BE49-F238E27FC236}">
                <a16:creationId xmlns:a16="http://schemas.microsoft.com/office/drawing/2014/main" id="{8A5F2955-E614-440D-B2FE-3A6BD25106DF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49" name="Tekstvak 48">
            <a:extLst>
              <a:ext uri="{FF2B5EF4-FFF2-40B4-BE49-F238E27FC236}">
                <a16:creationId xmlns:a16="http://schemas.microsoft.com/office/drawing/2014/main" id="{165C8EA5-BEC1-4AC0-9E6E-7C362681A42B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50" name="Groep 49">
            <a:extLst>
              <a:ext uri="{FF2B5EF4-FFF2-40B4-BE49-F238E27FC236}">
                <a16:creationId xmlns:a16="http://schemas.microsoft.com/office/drawing/2014/main" id="{439C349D-FD25-444B-ADF5-07B4C9FA4994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51" name="Rechthoek 50">
              <a:extLst>
                <a:ext uri="{FF2B5EF4-FFF2-40B4-BE49-F238E27FC236}">
                  <a16:creationId xmlns:a16="http://schemas.microsoft.com/office/drawing/2014/main" id="{F59DC191-F09F-45B3-9BB0-F21AFF78FAD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52" name="Groep 51">
              <a:extLst>
                <a:ext uri="{FF2B5EF4-FFF2-40B4-BE49-F238E27FC236}">
                  <a16:creationId xmlns:a16="http://schemas.microsoft.com/office/drawing/2014/main" id="{B44A1207-8AD5-4602-BAE4-3023555ACD87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61" name="Rechthoek 60">
                <a:extLst>
                  <a:ext uri="{FF2B5EF4-FFF2-40B4-BE49-F238E27FC236}">
                    <a16:creationId xmlns:a16="http://schemas.microsoft.com/office/drawing/2014/main" id="{88AA076E-194A-4EBE-BAC8-8B383661080A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2" name="Rechthoek 61">
                <a:extLst>
                  <a:ext uri="{FF2B5EF4-FFF2-40B4-BE49-F238E27FC236}">
                    <a16:creationId xmlns:a16="http://schemas.microsoft.com/office/drawing/2014/main" id="{42B11435-5F52-4C73-8B92-12B5195452DE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3" name="Rechthoek 62">
                <a:extLst>
                  <a:ext uri="{FF2B5EF4-FFF2-40B4-BE49-F238E27FC236}">
                    <a16:creationId xmlns:a16="http://schemas.microsoft.com/office/drawing/2014/main" id="{6C4E4824-E5D8-4022-8A19-72A2BD7F47C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4" name="Rechthoek 63">
                <a:extLst>
                  <a:ext uri="{FF2B5EF4-FFF2-40B4-BE49-F238E27FC236}">
                    <a16:creationId xmlns:a16="http://schemas.microsoft.com/office/drawing/2014/main" id="{BAA2F00B-5D96-4B88-9CBE-560B618B43EB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5" name="Rechthoek 64">
                <a:extLst>
                  <a:ext uri="{FF2B5EF4-FFF2-40B4-BE49-F238E27FC236}">
                    <a16:creationId xmlns:a16="http://schemas.microsoft.com/office/drawing/2014/main" id="{E8D6AFBE-D8C3-4DDE-A9C6-E8DB9C836092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6" name="Rechthoek 65">
                <a:extLst>
                  <a:ext uri="{FF2B5EF4-FFF2-40B4-BE49-F238E27FC236}">
                    <a16:creationId xmlns:a16="http://schemas.microsoft.com/office/drawing/2014/main" id="{8D5B997B-A680-4C98-B4F9-FE04AC85B48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7" name="Rechthoek 66">
                <a:extLst>
                  <a:ext uri="{FF2B5EF4-FFF2-40B4-BE49-F238E27FC236}">
                    <a16:creationId xmlns:a16="http://schemas.microsoft.com/office/drawing/2014/main" id="{DEE1CAE3-36E4-40A8-9499-8DB7787C38B1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53" name="Groep 52">
              <a:extLst>
                <a:ext uri="{FF2B5EF4-FFF2-40B4-BE49-F238E27FC236}">
                  <a16:creationId xmlns:a16="http://schemas.microsoft.com/office/drawing/2014/main" id="{84329183-47F3-4535-A333-F2D18CB3EE83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54" name="Rechthoek 53">
                <a:extLst>
                  <a:ext uri="{FF2B5EF4-FFF2-40B4-BE49-F238E27FC236}">
                    <a16:creationId xmlns:a16="http://schemas.microsoft.com/office/drawing/2014/main" id="{49C7A26D-E842-4193-A36B-F199F01096E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5" name="Rechthoek 54">
                <a:extLst>
                  <a:ext uri="{FF2B5EF4-FFF2-40B4-BE49-F238E27FC236}">
                    <a16:creationId xmlns:a16="http://schemas.microsoft.com/office/drawing/2014/main" id="{334E94C0-FA9A-4D4D-93AE-45DB4DE0E8EB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6" name="Rechthoek 55">
                <a:extLst>
                  <a:ext uri="{FF2B5EF4-FFF2-40B4-BE49-F238E27FC236}">
                    <a16:creationId xmlns:a16="http://schemas.microsoft.com/office/drawing/2014/main" id="{2DB6F8D9-454C-482B-A42B-26567DFA216B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7" name="Rechthoek 56">
                <a:extLst>
                  <a:ext uri="{FF2B5EF4-FFF2-40B4-BE49-F238E27FC236}">
                    <a16:creationId xmlns:a16="http://schemas.microsoft.com/office/drawing/2014/main" id="{0C8EFB32-A6A1-4844-B8CF-B16A4CFA3E27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8" name="Rechthoek 57">
                <a:extLst>
                  <a:ext uri="{FF2B5EF4-FFF2-40B4-BE49-F238E27FC236}">
                    <a16:creationId xmlns:a16="http://schemas.microsoft.com/office/drawing/2014/main" id="{B5BC8841-77D1-4FE2-9AFD-922920A7AB8A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9" name="Rechthoek 58">
                <a:extLst>
                  <a:ext uri="{FF2B5EF4-FFF2-40B4-BE49-F238E27FC236}">
                    <a16:creationId xmlns:a16="http://schemas.microsoft.com/office/drawing/2014/main" id="{81CBC155-3249-4821-9667-F42EE811689E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0" name="Rechthoek 59">
                <a:extLst>
                  <a:ext uri="{FF2B5EF4-FFF2-40B4-BE49-F238E27FC236}">
                    <a16:creationId xmlns:a16="http://schemas.microsoft.com/office/drawing/2014/main" id="{C5893313-C022-4420-822F-75B9D3745A88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68" name="Tekstvak 67">
            <a:extLst>
              <a:ext uri="{FF2B5EF4-FFF2-40B4-BE49-F238E27FC236}">
                <a16:creationId xmlns:a16="http://schemas.microsoft.com/office/drawing/2014/main" id="{40B4AD63-82E1-4FEA-809A-336B41E5B2E7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</p:spTree>
    <p:extLst>
      <p:ext uri="{BB962C8B-B14F-4D97-AF65-F5344CB8AC3E}">
        <p14:creationId xmlns:p14="http://schemas.microsoft.com/office/powerpoint/2010/main" val="1781451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6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22" presetClass="exit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right)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22" presetClass="exit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1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uiExpand="1" animBg="1">
        <p:tmplLst>
          <p:tmpl>
            <p:tnLst>
              <p:par>
                <p:cTn presetID="31" presetClass="exit" presetSubtype="0" fill="hold" nodeType="clickEffect">
                  <p:stCondLst>
                    <p:cond delay="0"/>
                  </p:stCondLst>
                  <p:childTnLst>
                    <p:anim calcmode="lin" valueType="num">
                      <p:cBhvr>
                        <p:cTn dur="500"/>
                        <p:tgtEl>
                          <p:spTgt spid="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strVal val="ppt_w"/>
                          </p:val>
                        </p:tav>
                        <p:tav tm="100000">
                          <p:val>
                            <p:fltVal val="0"/>
                          </p:val>
                        </p:tav>
                      </p:tavLst>
                    </p:anim>
                    <p:anim calcmode="lin" valueType="num">
                      <p:cBhvr>
                        <p:cTn dur="500"/>
                        <p:tgtEl>
                          <p:spTgt spid="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strVal val="ppt_h"/>
                          </p:val>
                        </p:tav>
                        <p:tav tm="100000">
                          <p:val>
                            <p:fltVal val="0"/>
                          </p:val>
                        </p:tav>
                      </p:tavLst>
                    </p:anim>
                    <p:anim calcmode="lin" valueType="num">
                      <p:cBhvr>
                        <p:cTn dur="500"/>
                        <p:tgtEl>
                          <p:spTgt spid="8"/>
                        </p:tgtEl>
                        <p:attrNameLst>
                          <p:attrName>style.rotation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fltVal val="90"/>
                          </p:val>
                        </p:tav>
                      </p:tavLst>
                    </p:anim>
                    <p:animEffect transition="out" filter="fade">
                      <p:cBhvr>
                        <p:cTn dur="500"/>
                        <p:tgtEl>
                          <p:spTgt spid="8"/>
                        </p:tgtEl>
                      </p:cBhvr>
                    </p:animEffect>
                    <p:set>
                      <p:cBhvr>
                        <p:cTn dur="1" fill="hold">
                          <p:stCondLst>
                            <p:cond delay="499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hidden"/>
                      </p:to>
                    </p:set>
                  </p:childTnLst>
                </p:cTn>
              </p:par>
            </p:tnLst>
          </p:tmpl>
        </p:tmplLst>
      </p:bldP>
      <p:bldP spid="10" grpId="0" animBg="1">
        <p:tmplLst>
          <p:tmpl>
            <p:tnLst>
              <p:par>
                <p:cTn presetID="22" presetClass="exit" presetSubtype="2" fill="hold" nodeType="withEffect">
                  <p:stCondLst>
                    <p:cond delay="0"/>
                  </p:stCondLst>
                  <p:childTnLst>
                    <p:animEffect transition="out" filter="wipe(right)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  <p:set>
                      <p:cBhvr>
                        <p:cTn dur="1" fill="hold">
                          <p:stCondLst>
                            <p:cond delay="499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hidden"/>
                      </p:to>
                    </p:set>
                  </p:childTnLst>
                </p:cTn>
              </p:par>
            </p:tnLst>
          </p:tmpl>
        </p:tmplLst>
      </p:bldP>
      <p:bldP spid="11" grpId="0" animBg="1">
        <p:tmplLst>
          <p:tmpl>
            <p:tnLst>
              <p:par>
                <p:cTn presetID="22" presetClass="exit" presetSubtype="8" fill="hold" nodeType="withEffect">
                  <p:stCondLst>
                    <p:cond delay="0"/>
                  </p:stCondLst>
                  <p:childTnLst>
                    <p:animEffect transition="out" filter="wipe(left)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  <p:set>
                      <p:cBhvr>
                        <p:cTn dur="1" fill="hold">
                          <p:stCondLst>
                            <p:cond delay="499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hidden"/>
                      </p:to>
                    </p:set>
                  </p:childTnLst>
                </p:cTn>
              </p:par>
            </p:tnLst>
          </p:tmpl>
        </p:tmplLst>
      </p:bldP>
    </p:bld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88B3013-47ED-4FAD-A566-5139DC3153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72956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88B3013-47ED-4FAD-A566-5139DC3153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F25D3B4E-A54E-457D-8993-34E4AD67B23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5974819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A3B2CE2-6E36-4B39-B81C-A871255F690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4322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A3B2CE2-6E36-4B39-B81C-A871255F69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hoek 8">
            <a:extLst>
              <a:ext uri="{FF2B5EF4-FFF2-40B4-BE49-F238E27FC236}">
                <a16:creationId xmlns:a16="http://schemas.microsoft.com/office/drawing/2014/main" id="{28089973-667C-4261-A3F8-79E71E532240}"/>
              </a:ext>
            </a:extLst>
          </p:cNvPr>
          <p:cNvSpPr/>
          <p:nvPr/>
        </p:nvSpPr>
        <p:spPr>
          <a:xfrm rot="14837460">
            <a:off x="1109866" y="4496958"/>
            <a:ext cx="1810388" cy="4027195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8" name="Vrije vorm: vorm 7">
            <a:extLst>
              <a:ext uri="{FF2B5EF4-FFF2-40B4-BE49-F238E27FC236}">
                <a16:creationId xmlns:a16="http://schemas.microsoft.com/office/drawing/2014/main" id="{229DEDC1-BA36-4BC1-AF5F-4E08D1D1F2DA}"/>
              </a:ext>
            </a:extLst>
          </p:cNvPr>
          <p:cNvSpPr/>
          <p:nvPr/>
        </p:nvSpPr>
        <p:spPr>
          <a:xfrm>
            <a:off x="6224337" y="1651889"/>
            <a:ext cx="7724891" cy="7724890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15" name="Ondertitel 2">
            <a:extLst>
              <a:ext uri="{FF2B5EF4-FFF2-40B4-BE49-F238E27FC236}">
                <a16:creationId xmlns:a16="http://schemas.microsoft.com/office/drawing/2014/main" id="{6B075DAC-FE98-441F-91A3-5F8B55C8FA2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76968" y="3989125"/>
            <a:ext cx="6365516" cy="1818117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771A229C-676B-44C4-A449-BC2C885A974B}"/>
              </a:ext>
            </a:extLst>
          </p:cNvPr>
          <p:cNvSpPr txBox="1"/>
          <p:nvPr/>
        </p:nvSpPr>
        <p:spPr>
          <a:xfrm>
            <a:off x="676968" y="921330"/>
            <a:ext cx="6365516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ts val="9600"/>
              </a:lnSpc>
            </a:pPr>
            <a:r>
              <a:rPr lang="en-GB" sz="9600" b="1" dirty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0"/>
                </a:gra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7046360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ubtitl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C227932-C3A5-4BE2-B468-0B2D2E1D3C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30000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C227932-C3A5-4BE2-B468-0B2D2E1D3C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hoek 3">
            <a:extLst>
              <a:ext uri="{FF2B5EF4-FFF2-40B4-BE49-F238E27FC236}">
                <a16:creationId xmlns:a16="http://schemas.microsoft.com/office/drawing/2014/main" id="{1A471AC0-2471-4CD3-A61D-8D184731D0F8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b="1" dirty="0"/>
          </a:p>
        </p:txBody>
      </p:sp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6153698" y="3658094"/>
            <a:ext cx="1976529" cy="489351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 rot="9139577">
            <a:off x="6832407" y="-3517582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vert="horz" anchor="b">
            <a:normAutofit/>
          </a:bodyPr>
          <a:lstStyle>
            <a:lvl1pPr algn="l">
              <a:defRPr sz="6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493682" y="5447542"/>
            <a:ext cx="2038111" cy="972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414147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rgbClr val="191919"/>
                </a:solidFill>
              </a:defRPr>
            </a:lvl4pPr>
            <a:lvl5pPr>
              <a:defRPr>
                <a:solidFill>
                  <a:srgbClr val="191919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C85B63D6-D71F-A240-AA5E-4A1411037530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836757" y="500826"/>
            <a:ext cx="9418359" cy="9561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altLang="en-US"/>
              <a:t>Click to edit Master title style</a:t>
            </a: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64309402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reaker p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424543" y="439583"/>
            <a:ext cx="9753600" cy="4965699"/>
          </a:xfrm>
        </p:spPr>
        <p:txBody>
          <a:bodyPr anchor="t"/>
          <a:lstStyle>
            <a:lvl1pPr algn="l">
              <a:lnSpc>
                <a:spcPct val="120000"/>
              </a:lnSpc>
              <a:defRPr sz="6000" b="1" i="0">
                <a:solidFill>
                  <a:schemeClr val="bg1"/>
                </a:solidFill>
                <a:latin typeface="IBM Plex Sans" panose="020B0503050203000203" pitchFamily="34" charset="77"/>
              </a:defRPr>
            </a:lvl1pPr>
          </a:lstStyle>
          <a:p>
            <a:r>
              <a:rPr lang="en-US" dirty="0"/>
              <a:t>This is a breaker page, it can be used to split topics or highlight something</a:t>
            </a:r>
          </a:p>
        </p:txBody>
      </p:sp>
    </p:spTree>
    <p:extLst>
      <p:ext uri="{BB962C8B-B14F-4D97-AF65-F5344CB8AC3E}">
        <p14:creationId xmlns:p14="http://schemas.microsoft.com/office/powerpoint/2010/main" val="34859309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ubtitl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AE998DF9-8C1D-46A7-883C-8718EA523E1C}"/>
              </a:ext>
            </a:extLst>
          </p:cNvPr>
          <p:cNvSpPr/>
          <p:nvPr/>
        </p:nvSpPr>
        <p:spPr>
          <a:xfrm rot="6016460">
            <a:off x="584673" y="1723641"/>
            <a:ext cx="1467460" cy="6345777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8" name="Vrije vorm: vorm 7">
            <a:extLst>
              <a:ext uri="{FF2B5EF4-FFF2-40B4-BE49-F238E27FC236}">
                <a16:creationId xmlns:a16="http://schemas.microsoft.com/office/drawing/2014/main" id="{229DEDC1-BA36-4BC1-AF5F-4E08D1D1F2DA}"/>
              </a:ext>
            </a:extLst>
          </p:cNvPr>
          <p:cNvSpPr/>
          <p:nvPr/>
        </p:nvSpPr>
        <p:spPr>
          <a:xfrm>
            <a:off x="7677738" y="394174"/>
            <a:ext cx="6143153" cy="6143152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EF6A98CC-F557-4D9B-A099-463552032EF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5" name="Ondertitel 2">
            <a:extLst>
              <a:ext uri="{FF2B5EF4-FFF2-40B4-BE49-F238E27FC236}">
                <a16:creationId xmlns:a16="http://schemas.microsoft.com/office/drawing/2014/main" id="{6B075DAC-FE98-441F-91A3-5F8B55C8FA2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903006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ubtitle -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afbeelding 3">
            <a:extLst>
              <a:ext uri="{FF2B5EF4-FFF2-40B4-BE49-F238E27FC236}">
                <a16:creationId xmlns:a16="http://schemas.microsoft.com/office/drawing/2014/main" id="{562AE43F-CF1E-4884-9C1C-903846FB5ED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8580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B92F278-3E36-4026-AE77-45C36C3D36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5484" y="682123"/>
            <a:ext cx="4981074" cy="1985210"/>
          </a:xfrm>
        </p:spPr>
        <p:txBody>
          <a:bodyPr anchor="b"/>
          <a:lstStyle>
            <a:lvl1pPr>
              <a:defRPr b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Vrije vorm: vorm 7">
            <a:extLst>
              <a:ext uri="{FF2B5EF4-FFF2-40B4-BE49-F238E27FC236}">
                <a16:creationId xmlns:a16="http://schemas.microsoft.com/office/drawing/2014/main" id="{328067BC-D300-403B-8A41-F91504D058B6}"/>
              </a:ext>
            </a:extLst>
          </p:cNvPr>
          <p:cNvSpPr/>
          <p:nvPr/>
        </p:nvSpPr>
        <p:spPr>
          <a:xfrm>
            <a:off x="3969613" y="4014873"/>
            <a:ext cx="2126387" cy="2843128"/>
          </a:xfrm>
          <a:custGeom>
            <a:avLst/>
            <a:gdLst>
              <a:gd name="connsiteX0" fmla="*/ 2126387 w 2126387"/>
              <a:gd name="connsiteY0" fmla="*/ 0 h 2843128"/>
              <a:gd name="connsiteX1" fmla="*/ 2126387 w 2126387"/>
              <a:gd name="connsiteY1" fmla="*/ 1332544 h 2843128"/>
              <a:gd name="connsiteX2" fmla="*/ 2011075 w 2126387"/>
              <a:gd name="connsiteY2" fmla="*/ 1388096 h 2843128"/>
              <a:gd name="connsiteX3" fmla="*/ 1276519 w 2126387"/>
              <a:gd name="connsiteY3" fmla="*/ 2621962 h 2843128"/>
              <a:gd name="connsiteX4" fmla="*/ 1283764 w 2126387"/>
              <a:gd name="connsiteY4" fmla="*/ 2765426 h 2843128"/>
              <a:gd name="connsiteX5" fmla="*/ 1295625 w 2126387"/>
              <a:gd name="connsiteY5" fmla="*/ 2843128 h 2843128"/>
              <a:gd name="connsiteX6" fmla="*/ 11167 w 2126387"/>
              <a:gd name="connsiteY6" fmla="*/ 2843128 h 2843128"/>
              <a:gd name="connsiteX7" fmla="*/ 0 w 2126387"/>
              <a:gd name="connsiteY7" fmla="*/ 2621962 h 2843128"/>
              <a:gd name="connsiteX8" fmla="*/ 1882897 w 2126387"/>
              <a:gd name="connsiteY8" fmla="*/ 62605 h 2843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26387" h="2843128">
                <a:moveTo>
                  <a:pt x="2126387" y="0"/>
                </a:moveTo>
                <a:lnTo>
                  <a:pt x="2126387" y="1332544"/>
                </a:lnTo>
                <a:lnTo>
                  <a:pt x="2011075" y="1388096"/>
                </a:lnTo>
                <a:cubicBezTo>
                  <a:pt x="1573635" y="1625731"/>
                  <a:pt x="1276519" y="2089192"/>
                  <a:pt x="1276519" y="2621962"/>
                </a:cubicBezTo>
                <a:cubicBezTo>
                  <a:pt x="1276519" y="2670396"/>
                  <a:pt x="1278973" y="2718256"/>
                  <a:pt x="1283764" y="2765426"/>
                </a:cubicBezTo>
                <a:lnTo>
                  <a:pt x="1295625" y="2843128"/>
                </a:lnTo>
                <a:lnTo>
                  <a:pt x="11167" y="2843128"/>
                </a:lnTo>
                <a:lnTo>
                  <a:pt x="0" y="2621962"/>
                </a:lnTo>
                <a:cubicBezTo>
                  <a:pt x="0" y="1419416"/>
                  <a:pt x="791990" y="401898"/>
                  <a:pt x="1882897" y="62605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15" name="Ondertitel 2">
            <a:extLst>
              <a:ext uri="{FF2B5EF4-FFF2-40B4-BE49-F238E27FC236}">
                <a16:creationId xmlns:a16="http://schemas.microsoft.com/office/drawing/2014/main" id="{E58A4E09-B771-4D46-9BFC-C0926E6A9E7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5484" y="2919997"/>
            <a:ext cx="4981074" cy="93846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7" name="Tijdelijke aanduiding voor tekst 16">
            <a:extLst>
              <a:ext uri="{FF2B5EF4-FFF2-40B4-BE49-F238E27FC236}">
                <a16:creationId xmlns:a16="http://schemas.microsoft.com/office/drawing/2014/main" id="{8408E3B1-DF3F-4224-80FC-BF290DFE832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5913" y="3954713"/>
            <a:ext cx="3232800" cy="2901600"/>
          </a:xfrm>
          <a:blipFill dpi="0" rotWithShape="1">
            <a:blip r:embed="rId2">
              <a:alphaModFix amt="75000"/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 marL="457200" indent="0">
              <a:buNone/>
              <a:defRPr sz="100">
                <a:noFill/>
              </a:defRPr>
            </a:lvl2pPr>
            <a:lvl3pPr marL="914400" indent="0">
              <a:buNone/>
              <a:defRPr sz="100">
                <a:noFill/>
              </a:defRPr>
            </a:lvl3pPr>
            <a:lvl4pPr marL="1371600" indent="0">
              <a:buNone/>
              <a:defRPr sz="100">
                <a:noFill/>
              </a:defRPr>
            </a:lvl4pPr>
            <a:lvl5pPr marL="1828800" indent="0">
              <a:buNone/>
              <a:defRPr sz="100">
                <a:noFill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0" name="Rechthoek 99">
            <a:extLst>
              <a:ext uri="{FF2B5EF4-FFF2-40B4-BE49-F238E27FC236}">
                <a16:creationId xmlns:a16="http://schemas.microsoft.com/office/drawing/2014/main" id="{026C2B54-10DE-4DB0-9FBB-B49FD34D1488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01" name="Rechte verbindingslijn 100">
            <a:extLst>
              <a:ext uri="{FF2B5EF4-FFF2-40B4-BE49-F238E27FC236}">
                <a16:creationId xmlns:a16="http://schemas.microsoft.com/office/drawing/2014/main" id="{015A26D9-25E2-4D7C-9B21-59F4681390DA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02" name="Tekstvak 101">
            <a:extLst>
              <a:ext uri="{FF2B5EF4-FFF2-40B4-BE49-F238E27FC236}">
                <a16:creationId xmlns:a16="http://schemas.microsoft.com/office/drawing/2014/main" id="{D0B8D6E5-78FC-4E79-8093-E330489A6E1B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03" name="Groep 102">
            <a:extLst>
              <a:ext uri="{FF2B5EF4-FFF2-40B4-BE49-F238E27FC236}">
                <a16:creationId xmlns:a16="http://schemas.microsoft.com/office/drawing/2014/main" id="{A7E55E96-C2D0-48B3-A6E7-C03FCA5AF4B0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104" name="Rechthoek 103">
              <a:extLst>
                <a:ext uri="{FF2B5EF4-FFF2-40B4-BE49-F238E27FC236}">
                  <a16:creationId xmlns:a16="http://schemas.microsoft.com/office/drawing/2014/main" id="{4F1352B4-D000-4E98-BF96-1EBDD289BB0C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05" name="Gelijkbenige driehoek 128">
              <a:extLst>
                <a:ext uri="{FF2B5EF4-FFF2-40B4-BE49-F238E27FC236}">
                  <a16:creationId xmlns:a16="http://schemas.microsoft.com/office/drawing/2014/main" id="{DE777BB2-0974-471B-A7BF-EBF9E4AA8F7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06" name="Ovaal 105">
              <a:extLst>
                <a:ext uri="{FF2B5EF4-FFF2-40B4-BE49-F238E27FC236}">
                  <a16:creationId xmlns:a16="http://schemas.microsoft.com/office/drawing/2014/main" id="{1FB47A5C-DC31-4E8C-99EE-57CCE70E44B2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07" name="Rechthoek 106">
              <a:extLst>
                <a:ext uri="{FF2B5EF4-FFF2-40B4-BE49-F238E27FC236}">
                  <a16:creationId xmlns:a16="http://schemas.microsoft.com/office/drawing/2014/main" id="{AA5B7EC1-9BBA-4F1F-86C5-FF716A5D7C8C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381A1ACB-428F-4517-AF67-2FDD35C8C4EC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09" name="Tekstvak 108">
            <a:extLst>
              <a:ext uri="{FF2B5EF4-FFF2-40B4-BE49-F238E27FC236}">
                <a16:creationId xmlns:a16="http://schemas.microsoft.com/office/drawing/2014/main" id="{C7AB16CC-3B2F-4637-9874-3738DEA59727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10" name="Tekstvak 109">
            <a:extLst>
              <a:ext uri="{FF2B5EF4-FFF2-40B4-BE49-F238E27FC236}">
                <a16:creationId xmlns:a16="http://schemas.microsoft.com/office/drawing/2014/main" id="{BD4EE27E-331E-452E-A625-11BC2EA3CAF4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11" name="Groep 110">
            <a:extLst>
              <a:ext uri="{FF2B5EF4-FFF2-40B4-BE49-F238E27FC236}">
                <a16:creationId xmlns:a16="http://schemas.microsoft.com/office/drawing/2014/main" id="{87AF777E-3EB7-49B1-9384-9DEB3DF60208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112" name="Rechthoek 111">
              <a:extLst>
                <a:ext uri="{FF2B5EF4-FFF2-40B4-BE49-F238E27FC236}">
                  <a16:creationId xmlns:a16="http://schemas.microsoft.com/office/drawing/2014/main" id="{6B2E8D27-EA47-46F9-933D-A7B19C6A5EAB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113" name="Groep 112">
              <a:extLst>
                <a:ext uri="{FF2B5EF4-FFF2-40B4-BE49-F238E27FC236}">
                  <a16:creationId xmlns:a16="http://schemas.microsoft.com/office/drawing/2014/main" id="{A927F2CD-64F8-43BC-863E-46A1C22AE739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122" name="Rechthoek 121">
                <a:extLst>
                  <a:ext uri="{FF2B5EF4-FFF2-40B4-BE49-F238E27FC236}">
                    <a16:creationId xmlns:a16="http://schemas.microsoft.com/office/drawing/2014/main" id="{3FFB8635-05FC-4BA5-A140-CA615757EF49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3" name="Rechthoek 122">
                <a:extLst>
                  <a:ext uri="{FF2B5EF4-FFF2-40B4-BE49-F238E27FC236}">
                    <a16:creationId xmlns:a16="http://schemas.microsoft.com/office/drawing/2014/main" id="{26C55860-800E-4133-8C74-89A7E7F7D544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4" name="Rechthoek 123">
                <a:extLst>
                  <a:ext uri="{FF2B5EF4-FFF2-40B4-BE49-F238E27FC236}">
                    <a16:creationId xmlns:a16="http://schemas.microsoft.com/office/drawing/2014/main" id="{8690FCBC-D37D-434C-A27C-0C8F592659D6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5" name="Rechthoek 124">
                <a:extLst>
                  <a:ext uri="{FF2B5EF4-FFF2-40B4-BE49-F238E27FC236}">
                    <a16:creationId xmlns:a16="http://schemas.microsoft.com/office/drawing/2014/main" id="{428F1B09-7BC0-4739-8FD9-FA95461B89A7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6" name="Rechthoek 125">
                <a:extLst>
                  <a:ext uri="{FF2B5EF4-FFF2-40B4-BE49-F238E27FC236}">
                    <a16:creationId xmlns:a16="http://schemas.microsoft.com/office/drawing/2014/main" id="{D2270932-42A6-465E-9CF2-AE4DC7B23285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7" name="Rechthoek 126">
                <a:extLst>
                  <a:ext uri="{FF2B5EF4-FFF2-40B4-BE49-F238E27FC236}">
                    <a16:creationId xmlns:a16="http://schemas.microsoft.com/office/drawing/2014/main" id="{CE20B0D9-B48B-422A-847D-AF23BF6FBAA7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8" name="Rechthoek 127">
                <a:extLst>
                  <a:ext uri="{FF2B5EF4-FFF2-40B4-BE49-F238E27FC236}">
                    <a16:creationId xmlns:a16="http://schemas.microsoft.com/office/drawing/2014/main" id="{8844DFE3-70CB-4F98-A827-86EE344DF3A7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114" name="Groep 113">
              <a:extLst>
                <a:ext uri="{FF2B5EF4-FFF2-40B4-BE49-F238E27FC236}">
                  <a16:creationId xmlns:a16="http://schemas.microsoft.com/office/drawing/2014/main" id="{6D2B3335-C2CB-4488-B19F-2AFDC1E5880C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93568914-1038-4BFB-9CBC-0A778B3FD4A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6" name="Rechthoek 115">
                <a:extLst>
                  <a:ext uri="{FF2B5EF4-FFF2-40B4-BE49-F238E27FC236}">
                    <a16:creationId xmlns:a16="http://schemas.microsoft.com/office/drawing/2014/main" id="{373A2D67-4500-4785-B9FF-09FA6B86DE2B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7" name="Rechthoek 116">
                <a:extLst>
                  <a:ext uri="{FF2B5EF4-FFF2-40B4-BE49-F238E27FC236}">
                    <a16:creationId xmlns:a16="http://schemas.microsoft.com/office/drawing/2014/main" id="{B2577D0E-FC38-40FC-964B-1AD3C18AEA1A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8" name="Rechthoek 117">
                <a:extLst>
                  <a:ext uri="{FF2B5EF4-FFF2-40B4-BE49-F238E27FC236}">
                    <a16:creationId xmlns:a16="http://schemas.microsoft.com/office/drawing/2014/main" id="{BB8D67FD-FAEF-4AA5-BB60-0F48191B8E9C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9" name="Rechthoek 118">
                <a:extLst>
                  <a:ext uri="{FF2B5EF4-FFF2-40B4-BE49-F238E27FC236}">
                    <a16:creationId xmlns:a16="http://schemas.microsoft.com/office/drawing/2014/main" id="{24EEF202-722D-44E6-8F87-5F4CB453959F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0" name="Rechthoek 119">
                <a:extLst>
                  <a:ext uri="{FF2B5EF4-FFF2-40B4-BE49-F238E27FC236}">
                    <a16:creationId xmlns:a16="http://schemas.microsoft.com/office/drawing/2014/main" id="{F82FC034-4D76-4D3D-A698-86711322928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A0E5BD98-74D7-45F2-91E6-FA905B48179C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129" name="Tekstvak 128">
            <a:extLst>
              <a:ext uri="{FF2B5EF4-FFF2-40B4-BE49-F238E27FC236}">
                <a16:creationId xmlns:a16="http://schemas.microsoft.com/office/drawing/2014/main" id="{94165FBE-E5F2-4D0E-A456-ACE5117FB787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</p:spTree>
    <p:extLst>
      <p:ext uri="{BB962C8B-B14F-4D97-AF65-F5344CB8AC3E}">
        <p14:creationId xmlns:p14="http://schemas.microsoft.com/office/powerpoint/2010/main" val="405788415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le of Content - 4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hoek 18">
            <a:extLst>
              <a:ext uri="{FF2B5EF4-FFF2-40B4-BE49-F238E27FC236}">
                <a16:creationId xmlns:a16="http://schemas.microsoft.com/office/drawing/2014/main" id="{0EB0BEF7-7A51-4AF5-B44C-BA4BE5376A4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B91E60E0-1FC2-4982-A642-AD169632EED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9117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9" name="Tijdelijke aanduiding voor tekst 6">
            <a:extLst>
              <a:ext uri="{FF2B5EF4-FFF2-40B4-BE49-F238E27FC236}">
                <a16:creationId xmlns:a16="http://schemas.microsoft.com/office/drawing/2014/main" id="{1C2BBB1D-61A6-4D19-957B-C932CB58F3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89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0" name="Tijdelijke aanduiding voor tekst 6">
            <a:extLst>
              <a:ext uri="{FF2B5EF4-FFF2-40B4-BE49-F238E27FC236}">
                <a16:creationId xmlns:a16="http://schemas.microsoft.com/office/drawing/2014/main" id="{B09DD24D-7E0B-4D1B-AD33-39719705CF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2200680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12" name="Tijdelijke aanduiding voor tekst 6">
            <a:extLst>
              <a:ext uri="{FF2B5EF4-FFF2-40B4-BE49-F238E27FC236}">
                <a16:creationId xmlns:a16="http://schemas.microsoft.com/office/drawing/2014/main" id="{FA8DCC83-98AE-468C-90E2-741B3EFB183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219847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3" name="Tijdelijke aanduiding voor tekst 6">
            <a:extLst>
              <a:ext uri="{FF2B5EF4-FFF2-40B4-BE49-F238E27FC236}">
                <a16:creationId xmlns:a16="http://schemas.microsoft.com/office/drawing/2014/main" id="{7035A987-E466-41FB-A891-10D3752211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710186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15" name="Tijdelijke aanduiding voor tekst 6">
            <a:extLst>
              <a:ext uri="{FF2B5EF4-FFF2-40B4-BE49-F238E27FC236}">
                <a16:creationId xmlns:a16="http://schemas.microsoft.com/office/drawing/2014/main" id="{AB680C88-024B-424F-8EE2-ED41778815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707976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6" name="Tijdelijke aanduiding voor tekst 6">
            <a:extLst>
              <a:ext uri="{FF2B5EF4-FFF2-40B4-BE49-F238E27FC236}">
                <a16:creationId xmlns:a16="http://schemas.microsoft.com/office/drawing/2014/main" id="{38D45C65-C2E6-4C24-AA31-3DA161DEF5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5219693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18" name="Tijdelijke aanduiding voor tekst 6">
            <a:extLst>
              <a:ext uri="{FF2B5EF4-FFF2-40B4-BE49-F238E27FC236}">
                <a16:creationId xmlns:a16="http://schemas.microsoft.com/office/drawing/2014/main" id="{B570384C-4A71-4DA5-B91E-0F075C20025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5217483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A0C511C7-96B3-409B-A041-8C044BC883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4" name="Rechthoek 23">
            <a:extLst>
              <a:ext uri="{FF2B5EF4-FFF2-40B4-BE49-F238E27FC236}">
                <a16:creationId xmlns:a16="http://schemas.microsoft.com/office/drawing/2014/main" id="{D524C7BA-8F5A-42D6-96D4-837ADC8E1027}"/>
              </a:ext>
            </a:extLst>
          </p:cNvPr>
          <p:cNvSpPr/>
          <p:nvPr/>
        </p:nvSpPr>
        <p:spPr>
          <a:xfrm rot="7786244" flipH="1" flipV="1">
            <a:off x="4061773" y="-1703090"/>
            <a:ext cx="1976529" cy="4893516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5" name="Vrije vorm: vorm 24">
            <a:extLst>
              <a:ext uri="{FF2B5EF4-FFF2-40B4-BE49-F238E27FC236}">
                <a16:creationId xmlns:a16="http://schemas.microsoft.com/office/drawing/2014/main" id="{6F331268-3885-4EC4-8FE6-B9E4A0B87F6E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7928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le of Content - 5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hthoek 33">
            <a:extLst>
              <a:ext uri="{FF2B5EF4-FFF2-40B4-BE49-F238E27FC236}">
                <a16:creationId xmlns:a16="http://schemas.microsoft.com/office/drawing/2014/main" id="{87814AB9-41F7-40BF-8647-FDB9040C176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6">
            <a:extLst>
              <a:ext uri="{FF2B5EF4-FFF2-40B4-BE49-F238E27FC236}">
                <a16:creationId xmlns:a16="http://schemas.microsoft.com/office/drawing/2014/main" id="{4DF14E8A-3E8B-4EDA-B767-F706F57904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6989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21" name="Tijdelijke aanduiding voor tekst 6">
            <a:extLst>
              <a:ext uri="{FF2B5EF4-FFF2-40B4-BE49-F238E27FC236}">
                <a16:creationId xmlns:a16="http://schemas.microsoft.com/office/drawing/2014/main" id="{0C122310-07A2-4803-A0F0-51718B05A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789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A1D757A3-6F6A-4927-A411-C148132591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191553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F696F097-32D7-48C2-82E1-6D1A99BAC1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928759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5" name="Tijdelijke aanduiding voor tekst 6">
            <a:extLst>
              <a:ext uri="{FF2B5EF4-FFF2-40B4-BE49-F238E27FC236}">
                <a16:creationId xmlns:a16="http://schemas.microsoft.com/office/drawing/2014/main" id="{11DBE0EE-24F8-41A6-ABB9-DE0D5621B5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16116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27" name="Tijdelijke aanduiding voor tekst 6">
            <a:extLst>
              <a:ext uri="{FF2B5EF4-FFF2-40B4-BE49-F238E27FC236}">
                <a16:creationId xmlns:a16="http://schemas.microsoft.com/office/drawing/2014/main" id="{68B23351-618B-46E5-AEA9-062EDBCFD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169627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8" name="Tijdelijke aanduiding voor tekst 6">
            <a:extLst>
              <a:ext uri="{FF2B5EF4-FFF2-40B4-BE49-F238E27FC236}">
                <a16:creationId xmlns:a16="http://schemas.microsoft.com/office/drawing/2014/main" id="{AD1464DB-4D63-46FE-84A3-9F20F7D8F0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440680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30" name="Tijdelijke aanduiding voor tekst 6">
            <a:extLst>
              <a:ext uri="{FF2B5EF4-FFF2-40B4-BE49-F238E27FC236}">
                <a16:creationId xmlns:a16="http://schemas.microsoft.com/office/drawing/2014/main" id="{99A3893D-C7DC-4646-BB9E-6B7C635BD2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4410495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1" name="Tijdelijke aanduiding voor tekst 6">
            <a:extLst>
              <a:ext uri="{FF2B5EF4-FFF2-40B4-BE49-F238E27FC236}">
                <a16:creationId xmlns:a16="http://schemas.microsoft.com/office/drawing/2014/main" id="{54704A45-1EF0-484F-B81D-2409AB67CF8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13600" y="5652438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33" name="Tijdelijke aanduiding voor tekst 6">
            <a:extLst>
              <a:ext uri="{FF2B5EF4-FFF2-40B4-BE49-F238E27FC236}">
                <a16:creationId xmlns:a16="http://schemas.microsoft.com/office/drawing/2014/main" id="{80D1DD23-69C4-4F3F-9241-CA358336F8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56513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0" name="Titel 1">
            <a:extLst>
              <a:ext uri="{FF2B5EF4-FFF2-40B4-BE49-F238E27FC236}">
                <a16:creationId xmlns:a16="http://schemas.microsoft.com/office/drawing/2014/main" id="{0888842D-915C-4706-A238-F52B943030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0" name="Rechthoek 19">
            <a:extLst>
              <a:ext uri="{FF2B5EF4-FFF2-40B4-BE49-F238E27FC236}">
                <a16:creationId xmlns:a16="http://schemas.microsoft.com/office/drawing/2014/main" id="{0B0AF78A-CFDF-45EA-91E2-CE2CAF4531E8}"/>
              </a:ext>
            </a:extLst>
          </p:cNvPr>
          <p:cNvSpPr/>
          <p:nvPr/>
        </p:nvSpPr>
        <p:spPr>
          <a:xfrm rot="7786244" flipH="1" flipV="1">
            <a:off x="4061773" y="-1703090"/>
            <a:ext cx="1976529" cy="4893516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3" name="Vrije vorm: vorm 22">
            <a:extLst>
              <a:ext uri="{FF2B5EF4-FFF2-40B4-BE49-F238E27FC236}">
                <a16:creationId xmlns:a16="http://schemas.microsoft.com/office/drawing/2014/main" id="{772DCC81-64A9-400B-ACBA-F381B6B9AC70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9996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le of Content - 6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hthoek 23">
            <a:extLst>
              <a:ext uri="{FF2B5EF4-FFF2-40B4-BE49-F238E27FC236}">
                <a16:creationId xmlns:a16="http://schemas.microsoft.com/office/drawing/2014/main" id="{292D42E4-7FA5-4464-8B14-81245AAFCA1A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Tijdelijke aanduiding voor tekst 6">
            <a:extLst>
              <a:ext uri="{FF2B5EF4-FFF2-40B4-BE49-F238E27FC236}">
                <a16:creationId xmlns:a16="http://schemas.microsoft.com/office/drawing/2014/main" id="{09D6A89B-BA0C-4DA1-A3DE-F6AC65D411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5400" y="66065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36" name="Tijdelijke aanduiding voor tekst 6">
            <a:extLst>
              <a:ext uri="{FF2B5EF4-FFF2-40B4-BE49-F238E27FC236}">
                <a16:creationId xmlns:a16="http://schemas.microsoft.com/office/drawing/2014/main" id="{5F2A2271-6BD1-4339-BFB3-F6D3DE71D09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6493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7" name="Tijdelijke aanduiding voor tekst 6">
            <a:extLst>
              <a:ext uri="{FF2B5EF4-FFF2-40B4-BE49-F238E27FC236}">
                <a16:creationId xmlns:a16="http://schemas.microsoft.com/office/drawing/2014/main" id="{36B5A4FB-5A48-4A04-BCFD-9124FD65C7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05400" y="1647962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41" name="Tijdelijke aanduiding voor tekst 6">
            <a:extLst>
              <a:ext uri="{FF2B5EF4-FFF2-40B4-BE49-F238E27FC236}">
                <a16:creationId xmlns:a16="http://schemas.microsoft.com/office/drawing/2014/main" id="{CCF525E0-4544-4557-94D1-DEAECA0CE1F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652238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2" name="Tijdelijke aanduiding voor tekst 6">
            <a:extLst>
              <a:ext uri="{FF2B5EF4-FFF2-40B4-BE49-F238E27FC236}">
                <a16:creationId xmlns:a16="http://schemas.microsoft.com/office/drawing/2014/main" id="{E39F519A-E318-4B7C-AA10-89A1C07582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05400" y="2635267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44" name="Tijdelijke aanduiding voor tekst 6">
            <a:extLst>
              <a:ext uri="{FF2B5EF4-FFF2-40B4-BE49-F238E27FC236}">
                <a16:creationId xmlns:a16="http://schemas.microsoft.com/office/drawing/2014/main" id="{C58ECB0F-D94D-4807-A4FA-4F16FD02FF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639543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5" name="Tijdelijke aanduiding voor tekst 6">
            <a:extLst>
              <a:ext uri="{FF2B5EF4-FFF2-40B4-BE49-F238E27FC236}">
                <a16:creationId xmlns:a16="http://schemas.microsoft.com/office/drawing/2014/main" id="{5EB21555-45D5-4F9F-B3B6-DE4D053CD9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5400" y="3622571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1A14E9FB-857B-4A6C-82D5-B4F4043C50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3626847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D299575F-C84E-45E2-B0E1-9A31D37169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05400" y="4609874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50" name="Tijdelijke aanduiding voor tekst 6">
            <a:extLst>
              <a:ext uri="{FF2B5EF4-FFF2-40B4-BE49-F238E27FC236}">
                <a16:creationId xmlns:a16="http://schemas.microsoft.com/office/drawing/2014/main" id="{4BD24427-9FCE-4492-9657-31165F1F6A1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4614150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51" name="Tijdelijke aanduiding voor tekst 6">
            <a:extLst>
              <a:ext uri="{FF2B5EF4-FFF2-40B4-BE49-F238E27FC236}">
                <a16:creationId xmlns:a16="http://schemas.microsoft.com/office/drawing/2014/main" id="{672D32A3-A2E3-46E2-9F9B-FA9AD3E3A8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5400" y="559717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6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A3423D5C-41B9-4A4A-8A8D-EF1D5CD431B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6000" y="560145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C4DDB331-9356-48D2-83A6-956567F529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8" name="Rechthoek 17">
            <a:extLst>
              <a:ext uri="{FF2B5EF4-FFF2-40B4-BE49-F238E27FC236}">
                <a16:creationId xmlns:a16="http://schemas.microsoft.com/office/drawing/2014/main" id="{42FEBCD2-1C7B-4302-9EC8-66F95A9E7A6C}"/>
              </a:ext>
            </a:extLst>
          </p:cNvPr>
          <p:cNvSpPr/>
          <p:nvPr/>
        </p:nvSpPr>
        <p:spPr>
          <a:xfrm rot="7786244" flipH="1" flipV="1">
            <a:off x="4061773" y="-1703090"/>
            <a:ext cx="1976529" cy="4893516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9" name="Vrije vorm: vorm 18">
            <a:extLst>
              <a:ext uri="{FF2B5EF4-FFF2-40B4-BE49-F238E27FC236}">
                <a16:creationId xmlns:a16="http://schemas.microsoft.com/office/drawing/2014/main" id="{1C47139E-D7F4-471E-8A2B-4D1A15BF93B6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3226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heme" Target="../theme/theme1.xml"/><Relationship Id="rId47" Type="http://schemas.openxmlformats.org/officeDocument/2006/relationships/image" Target="../media/image3.png"/><Relationship Id="rId50" Type="http://schemas.openxmlformats.org/officeDocument/2006/relationships/image" Target="../media/image6.sv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image" Target="../media/image5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oleObject" Target="../embeddings/oleObject1.bin"/><Relationship Id="rId52" Type="http://schemas.openxmlformats.org/officeDocument/2006/relationships/image" Target="../media/image8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ags" Target="../tags/tag1.xml"/><Relationship Id="rId48" Type="http://schemas.openxmlformats.org/officeDocument/2006/relationships/image" Target="../media/image4.png"/><Relationship Id="rId8" Type="http://schemas.openxmlformats.org/officeDocument/2006/relationships/slideLayout" Target="../slideLayouts/slideLayout8.xml"/><Relationship Id="rId51" Type="http://schemas.openxmlformats.org/officeDocument/2006/relationships/image" Target="../media/image7.png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image" Target="../media/image2.png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1730E57-8442-462B-B8B5-CDF9BC41C366}"/>
              </a:ext>
            </a:extLst>
          </p:cNvPr>
          <p:cNvGraphicFramePr>
            <a:graphicFrameLocks noChangeAspect="1"/>
          </p:cNvGraphicFramePr>
          <p:nvPr>
            <p:custDataLst>
              <p:tags r:id="rId43"/>
            </p:custDataLst>
            <p:extLst>
              <p:ext uri="{D42A27DB-BD31-4B8C-83A1-F6EECF244321}">
                <p14:modId xmlns:p14="http://schemas.microsoft.com/office/powerpoint/2010/main" val="3465089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4" imgW="532" imgH="530" progId="TCLayout.ActiveDocument.1">
                  <p:embed/>
                </p:oleObj>
              </mc:Choice>
              <mc:Fallback>
                <p:oleObj name="think-cell Slide" r:id="rId44" imgW="532" imgH="53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1730E57-8442-462B-B8B5-CDF9BC41C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C8A345FA-29F6-4BBD-B4A4-DD8FAB763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82277"/>
            <a:ext cx="10515600" cy="80770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 lvl="0"/>
            <a:r>
              <a:rPr lang="nl-NL" dirty="0"/>
              <a:t>Klik om stijl te bewerken</a:t>
            </a:r>
            <a:endParaRPr lang="en-GB" dirty="0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DFAB4794-4042-4301-9E27-09262F53772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457011"/>
            <a:ext cx="10515600" cy="471995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 dirty="0"/>
              <a:t>Klikken om de tekststijl van het model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en-GB" dirty="0"/>
          </a:p>
        </p:txBody>
      </p:sp>
      <p:sp>
        <p:nvSpPr>
          <p:cNvPr id="22" name="Vrije vorm: vorm 21">
            <a:extLst>
              <a:ext uri="{FF2B5EF4-FFF2-40B4-BE49-F238E27FC236}">
                <a16:creationId xmlns:a16="http://schemas.microsoft.com/office/drawing/2014/main" id="{E95E442C-2180-4EA1-9B7F-83B87714B6D1}"/>
              </a:ext>
            </a:extLst>
          </p:cNvPr>
          <p:cNvSpPr/>
          <p:nvPr/>
        </p:nvSpPr>
        <p:spPr>
          <a:xfrm>
            <a:off x="156422" y="-556815"/>
            <a:ext cx="951430" cy="951430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3" name="Rechthoek 22">
            <a:extLst>
              <a:ext uri="{FF2B5EF4-FFF2-40B4-BE49-F238E27FC236}">
                <a16:creationId xmlns:a16="http://schemas.microsoft.com/office/drawing/2014/main" id="{7DC45953-A42E-4822-A553-CF8C4E660C83}"/>
              </a:ext>
            </a:extLst>
          </p:cNvPr>
          <p:cNvSpPr/>
          <p:nvPr/>
        </p:nvSpPr>
        <p:spPr>
          <a:xfrm rot="3657484">
            <a:off x="152287" y="661616"/>
            <a:ext cx="226963" cy="9814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grpSp>
        <p:nvGrpSpPr>
          <p:cNvPr id="30" name="Groep 29">
            <a:extLst>
              <a:ext uri="{FF2B5EF4-FFF2-40B4-BE49-F238E27FC236}">
                <a16:creationId xmlns:a16="http://schemas.microsoft.com/office/drawing/2014/main" id="{D23DDBD4-3D8C-4FE1-87B8-408D0EC0A5D0}"/>
              </a:ext>
            </a:extLst>
          </p:cNvPr>
          <p:cNvGrpSpPr/>
          <p:nvPr/>
        </p:nvGrpSpPr>
        <p:grpSpPr>
          <a:xfrm>
            <a:off x="-4604842" y="254443"/>
            <a:ext cx="4228451" cy="3568234"/>
            <a:chOff x="-3535859" y="1276351"/>
            <a:chExt cx="4228451" cy="3568234"/>
          </a:xfrm>
        </p:grpSpPr>
        <p:sp>
          <p:nvSpPr>
            <p:cNvPr id="33" name="Rechthoek 32">
              <a:extLst>
                <a:ext uri="{FF2B5EF4-FFF2-40B4-BE49-F238E27FC236}">
                  <a16:creationId xmlns:a16="http://schemas.microsoft.com/office/drawing/2014/main" id="{5F3C2A04-787F-4DDA-93B5-9A8F0BECECF1}"/>
                </a:ext>
              </a:extLst>
            </p:cNvPr>
            <p:cNvSpPr/>
            <p:nvPr userDrawn="1"/>
          </p:nvSpPr>
          <p:spPr>
            <a:xfrm>
              <a:off x="-3529258" y="1276351"/>
              <a:ext cx="2572469" cy="28034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algn="l" defTabSz="685783" rtl="0" eaLnBrk="1" fontAlgn="auto" latinLnBrk="0" hangingPunct="1">
                <a:lnSpc>
                  <a:spcPct val="90000"/>
                </a:lnSpc>
                <a:spcBef>
                  <a:spcPts val="751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lang="nl-NL" sz="1800" b="0" i="0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Tekst niveaus</a:t>
              </a:r>
            </a:p>
          </p:txBody>
        </p:sp>
        <p:sp>
          <p:nvSpPr>
            <p:cNvPr id="34" name="Textfield placeholder">
              <a:extLst>
                <a:ext uri="{FF2B5EF4-FFF2-40B4-BE49-F238E27FC236}">
                  <a16:creationId xmlns:a16="http://schemas.microsoft.com/office/drawing/2014/main" id="{18EF3309-A426-45E8-89F6-76669134A77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3535859" y="2872729"/>
              <a:ext cx="3794626" cy="2615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46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68000" marR="0" lvl="0" indent="-46800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400"/>
                </a:spcAft>
                <a:buClr>
                  <a:schemeClr val="accent2"/>
                </a:buClr>
                <a:buSzPct val="100000"/>
                <a:buFont typeface="Century Gothic" panose="020B0502020202020204" pitchFamily="34" charset="0"/>
                <a:buChar char="▬"/>
                <a:tabLst/>
                <a:defRPr/>
              </a:pPr>
              <a:r>
                <a:rPr lang="nl-NL" sz="2400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Eerste niveau (24pt)</a:t>
              </a:r>
            </a:p>
          </p:txBody>
        </p:sp>
        <p:cxnSp>
          <p:nvCxnSpPr>
            <p:cNvPr id="36" name="Rechte verbindingslijn 35">
              <a:extLst>
                <a:ext uri="{FF2B5EF4-FFF2-40B4-BE49-F238E27FC236}">
                  <a16:creationId xmlns:a16="http://schemas.microsoft.com/office/drawing/2014/main" id="{42BA3D0F-2720-4DDA-95BE-5690ACBAAD2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519217" y="2750438"/>
              <a:ext cx="4211809" cy="0"/>
            </a:xfrm>
            <a:prstGeom prst="line">
              <a:avLst/>
            </a:prstGeom>
            <a:noFill/>
            <a:ln w="9525" cap="flat" cmpd="sng" algn="ctr">
              <a:solidFill>
                <a:schemeClr val="accent2"/>
              </a:solidFill>
              <a:prstDash val="solid"/>
            </a:ln>
            <a:effectLst/>
          </p:spPr>
        </p:cxnSp>
        <p:sp>
          <p:nvSpPr>
            <p:cNvPr id="37" name="Rechthoek 36">
              <a:extLst>
                <a:ext uri="{FF2B5EF4-FFF2-40B4-BE49-F238E27FC236}">
                  <a16:creationId xmlns:a16="http://schemas.microsoft.com/office/drawing/2014/main" id="{39ED2A08-9FA1-402A-B29F-B8DBBB2D15E0}"/>
                </a:ext>
              </a:extLst>
            </p:cNvPr>
            <p:cNvSpPr/>
            <p:nvPr/>
          </p:nvSpPr>
          <p:spPr>
            <a:xfrm>
              <a:off x="-3526033" y="2098550"/>
              <a:ext cx="524003" cy="501028"/>
            </a:xfrm>
            <a:prstGeom prst="rect">
              <a:avLst/>
            </a:prstGeom>
            <a:solidFill>
              <a:sysClr val="window" lastClr="FFFFFF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pic>
          <p:nvPicPr>
            <p:cNvPr id="38" name="Picture 2">
              <a:extLst>
                <a:ext uri="{FF2B5EF4-FFF2-40B4-BE49-F238E27FC236}">
                  <a16:creationId xmlns:a16="http://schemas.microsoft.com/office/drawing/2014/main" id="{8ACE70A3-0BC6-451D-A713-263485CC2C7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3285599" y="2118058"/>
              <a:ext cx="222649" cy="2054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9" name="Picture 3">
              <a:extLst>
                <a:ext uri="{FF2B5EF4-FFF2-40B4-BE49-F238E27FC236}">
                  <a16:creationId xmlns:a16="http://schemas.microsoft.com/office/drawing/2014/main" id="{A751367F-4AD4-4B50-806D-8369C748EF9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3494219" y="2118058"/>
              <a:ext cx="203698" cy="2099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40" name="Rechthoek 39">
              <a:extLst>
                <a:ext uri="{FF2B5EF4-FFF2-40B4-BE49-F238E27FC236}">
                  <a16:creationId xmlns:a16="http://schemas.microsoft.com/office/drawing/2014/main" id="{DC0DBC27-D709-4DD4-B2EA-B78451AB7B3A}"/>
                </a:ext>
              </a:extLst>
            </p:cNvPr>
            <p:cNvSpPr/>
            <p:nvPr/>
          </p:nvSpPr>
          <p:spPr>
            <a:xfrm>
              <a:off x="-3449390" y="2414273"/>
              <a:ext cx="130689" cy="11429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1" name="Rechthoek 40">
              <a:extLst>
                <a:ext uri="{FF2B5EF4-FFF2-40B4-BE49-F238E27FC236}">
                  <a16:creationId xmlns:a16="http://schemas.microsoft.com/office/drawing/2014/main" id="{E4CF6900-111A-400C-84D5-356D5D0B9BFE}"/>
                </a:ext>
              </a:extLst>
            </p:cNvPr>
            <p:cNvSpPr/>
            <p:nvPr/>
          </p:nvSpPr>
          <p:spPr>
            <a:xfrm>
              <a:off x="-3449390" y="2437198"/>
              <a:ext cx="130689" cy="11429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2" name="Rechthoek 41">
              <a:extLst>
                <a:ext uri="{FF2B5EF4-FFF2-40B4-BE49-F238E27FC236}">
                  <a16:creationId xmlns:a16="http://schemas.microsoft.com/office/drawing/2014/main" id="{E7B0494F-75C3-41F1-AC11-A74AA88EBE1E}"/>
                </a:ext>
              </a:extLst>
            </p:cNvPr>
            <p:cNvSpPr/>
            <p:nvPr/>
          </p:nvSpPr>
          <p:spPr>
            <a:xfrm>
              <a:off x="-3449390" y="2483049"/>
              <a:ext cx="130689" cy="11429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3" name="Rechthoek 42">
              <a:extLst>
                <a:ext uri="{FF2B5EF4-FFF2-40B4-BE49-F238E27FC236}">
                  <a16:creationId xmlns:a16="http://schemas.microsoft.com/office/drawing/2014/main" id="{C4F9EF3E-52F9-4EC3-BF3A-E154A0AB1CEE}"/>
                </a:ext>
              </a:extLst>
            </p:cNvPr>
            <p:cNvSpPr/>
            <p:nvPr/>
          </p:nvSpPr>
          <p:spPr>
            <a:xfrm>
              <a:off x="-3449390" y="2505976"/>
              <a:ext cx="130689" cy="11429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4" name="Rechthoek 43">
              <a:extLst>
                <a:ext uri="{FF2B5EF4-FFF2-40B4-BE49-F238E27FC236}">
                  <a16:creationId xmlns:a16="http://schemas.microsoft.com/office/drawing/2014/main" id="{AB7389C3-38FC-44D2-A216-25E676343FEF}"/>
                </a:ext>
              </a:extLst>
            </p:cNvPr>
            <p:cNvSpPr/>
            <p:nvPr/>
          </p:nvSpPr>
          <p:spPr>
            <a:xfrm>
              <a:off x="-3449390" y="2460124"/>
              <a:ext cx="130689" cy="11429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grpSp>
          <p:nvGrpSpPr>
            <p:cNvPr id="45" name="Groep 44">
              <a:extLst>
                <a:ext uri="{FF2B5EF4-FFF2-40B4-BE49-F238E27FC236}">
                  <a16:creationId xmlns:a16="http://schemas.microsoft.com/office/drawing/2014/main" id="{D3854F12-BB4A-4CD8-BFA4-365C297CF370}"/>
                </a:ext>
              </a:extLst>
            </p:cNvPr>
            <p:cNvGrpSpPr/>
            <p:nvPr/>
          </p:nvGrpSpPr>
          <p:grpSpPr>
            <a:xfrm>
              <a:off x="-3226194" y="2414273"/>
              <a:ext cx="60967" cy="103132"/>
              <a:chOff x="-2796392" y="1123442"/>
              <a:chExt cx="120832" cy="104889"/>
            </a:xfrm>
          </p:grpSpPr>
          <p:sp>
            <p:nvSpPr>
              <p:cNvPr id="85" name="Rechthoek 84">
                <a:extLst>
                  <a:ext uri="{FF2B5EF4-FFF2-40B4-BE49-F238E27FC236}">
                    <a16:creationId xmlns:a16="http://schemas.microsoft.com/office/drawing/2014/main" id="{B5C5AADE-89DB-401F-98C0-13B9110F1CCE}"/>
                  </a:ext>
                </a:extLst>
              </p:cNvPr>
              <p:cNvSpPr/>
              <p:nvPr/>
            </p:nvSpPr>
            <p:spPr>
              <a:xfrm>
                <a:off x="-2796392" y="1123442"/>
                <a:ext cx="120832" cy="11624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86" name="Rechthoek 85">
                <a:extLst>
                  <a:ext uri="{FF2B5EF4-FFF2-40B4-BE49-F238E27FC236}">
                    <a16:creationId xmlns:a16="http://schemas.microsoft.com/office/drawing/2014/main" id="{3956C632-C740-4B2E-ADBC-CF31FE1770D5}"/>
                  </a:ext>
                </a:extLst>
              </p:cNvPr>
              <p:cNvSpPr/>
              <p:nvPr/>
            </p:nvSpPr>
            <p:spPr>
              <a:xfrm>
                <a:off x="-2796392" y="1146758"/>
                <a:ext cx="120832" cy="11624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87" name="Rechthoek 86">
                <a:extLst>
                  <a:ext uri="{FF2B5EF4-FFF2-40B4-BE49-F238E27FC236}">
                    <a16:creationId xmlns:a16="http://schemas.microsoft.com/office/drawing/2014/main" id="{AB66ACFE-BC63-4FDC-8173-2FAA7BF33666}"/>
                  </a:ext>
                </a:extLst>
              </p:cNvPr>
              <p:cNvSpPr/>
              <p:nvPr/>
            </p:nvSpPr>
            <p:spPr>
              <a:xfrm>
                <a:off x="-2796392" y="1193390"/>
                <a:ext cx="120832" cy="11624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88" name="Rechthoek 87">
                <a:extLst>
                  <a:ext uri="{FF2B5EF4-FFF2-40B4-BE49-F238E27FC236}">
                    <a16:creationId xmlns:a16="http://schemas.microsoft.com/office/drawing/2014/main" id="{9B895C8D-3A6E-4CD9-8D8B-7BBB9DDE3516}"/>
                  </a:ext>
                </a:extLst>
              </p:cNvPr>
              <p:cNvSpPr/>
              <p:nvPr/>
            </p:nvSpPr>
            <p:spPr>
              <a:xfrm>
                <a:off x="-2796392" y="1216707"/>
                <a:ext cx="120832" cy="11624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89" name="Rechthoek 88">
                <a:extLst>
                  <a:ext uri="{FF2B5EF4-FFF2-40B4-BE49-F238E27FC236}">
                    <a16:creationId xmlns:a16="http://schemas.microsoft.com/office/drawing/2014/main" id="{B63AFC5A-7D38-400E-B1F5-6FE951A951AD}"/>
                  </a:ext>
                </a:extLst>
              </p:cNvPr>
              <p:cNvSpPr/>
              <p:nvPr/>
            </p:nvSpPr>
            <p:spPr>
              <a:xfrm>
                <a:off x="-2796392" y="1170074"/>
                <a:ext cx="120832" cy="11624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</p:grpSp>
        <p:grpSp>
          <p:nvGrpSpPr>
            <p:cNvPr id="46" name="Groep 45">
              <a:extLst>
                <a:ext uri="{FF2B5EF4-FFF2-40B4-BE49-F238E27FC236}">
                  <a16:creationId xmlns:a16="http://schemas.microsoft.com/office/drawing/2014/main" id="{1A3CB10B-7A9F-4B66-900D-08A99F1A934F}"/>
                </a:ext>
              </a:extLst>
            </p:cNvPr>
            <p:cNvGrpSpPr/>
            <p:nvPr/>
          </p:nvGrpSpPr>
          <p:grpSpPr>
            <a:xfrm>
              <a:off x="-3155473" y="2414273"/>
              <a:ext cx="60967" cy="103132"/>
              <a:chOff x="-2796392" y="1123442"/>
              <a:chExt cx="120832" cy="104889"/>
            </a:xfrm>
          </p:grpSpPr>
          <p:sp>
            <p:nvSpPr>
              <p:cNvPr id="80" name="Rechthoek 79">
                <a:extLst>
                  <a:ext uri="{FF2B5EF4-FFF2-40B4-BE49-F238E27FC236}">
                    <a16:creationId xmlns:a16="http://schemas.microsoft.com/office/drawing/2014/main" id="{1F6BD51E-C6B5-4A14-B05D-C2AFCD0331C6}"/>
                  </a:ext>
                </a:extLst>
              </p:cNvPr>
              <p:cNvSpPr/>
              <p:nvPr/>
            </p:nvSpPr>
            <p:spPr>
              <a:xfrm>
                <a:off x="-2796392" y="1123442"/>
                <a:ext cx="120832" cy="11624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81" name="Rechthoek 80">
                <a:extLst>
                  <a:ext uri="{FF2B5EF4-FFF2-40B4-BE49-F238E27FC236}">
                    <a16:creationId xmlns:a16="http://schemas.microsoft.com/office/drawing/2014/main" id="{15545EAF-9F72-456F-B31B-2F821635FF07}"/>
                  </a:ext>
                </a:extLst>
              </p:cNvPr>
              <p:cNvSpPr/>
              <p:nvPr/>
            </p:nvSpPr>
            <p:spPr>
              <a:xfrm>
                <a:off x="-2796392" y="1146758"/>
                <a:ext cx="120832" cy="11624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82" name="Rechthoek 81">
                <a:extLst>
                  <a:ext uri="{FF2B5EF4-FFF2-40B4-BE49-F238E27FC236}">
                    <a16:creationId xmlns:a16="http://schemas.microsoft.com/office/drawing/2014/main" id="{7B0D546D-E827-4DB5-BDA2-9231DF0BC1A1}"/>
                  </a:ext>
                </a:extLst>
              </p:cNvPr>
              <p:cNvSpPr/>
              <p:nvPr/>
            </p:nvSpPr>
            <p:spPr>
              <a:xfrm>
                <a:off x="-2796392" y="1193390"/>
                <a:ext cx="120832" cy="11624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83" name="Rechthoek 82">
                <a:extLst>
                  <a:ext uri="{FF2B5EF4-FFF2-40B4-BE49-F238E27FC236}">
                    <a16:creationId xmlns:a16="http://schemas.microsoft.com/office/drawing/2014/main" id="{8FAA656F-5081-43C4-ADE4-81DD3B94DC3F}"/>
                  </a:ext>
                </a:extLst>
              </p:cNvPr>
              <p:cNvSpPr/>
              <p:nvPr/>
            </p:nvSpPr>
            <p:spPr>
              <a:xfrm>
                <a:off x="-2796392" y="1216707"/>
                <a:ext cx="120832" cy="11624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84" name="Rechthoek 83">
                <a:extLst>
                  <a:ext uri="{FF2B5EF4-FFF2-40B4-BE49-F238E27FC236}">
                    <a16:creationId xmlns:a16="http://schemas.microsoft.com/office/drawing/2014/main" id="{112581B2-3D57-414C-82AE-A50E8036F669}"/>
                  </a:ext>
                </a:extLst>
              </p:cNvPr>
              <p:cNvSpPr/>
              <p:nvPr/>
            </p:nvSpPr>
            <p:spPr>
              <a:xfrm>
                <a:off x="-2796392" y="1170074"/>
                <a:ext cx="120832" cy="11624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47" name="Afgeronde rechthoek 69">
              <a:extLst>
                <a:ext uri="{FF2B5EF4-FFF2-40B4-BE49-F238E27FC236}">
                  <a16:creationId xmlns:a16="http://schemas.microsoft.com/office/drawing/2014/main" id="{95E9599E-E20B-40B8-9858-FD2C1F9E7CB5}"/>
                </a:ext>
              </a:extLst>
            </p:cNvPr>
            <p:cNvSpPr/>
            <p:nvPr/>
          </p:nvSpPr>
          <p:spPr>
            <a:xfrm>
              <a:off x="-2613177" y="2233729"/>
              <a:ext cx="313472" cy="324076"/>
            </a:xfrm>
            <a:prstGeom prst="roundRect">
              <a:avLst>
                <a:gd name="adj" fmla="val 10944"/>
              </a:avLst>
            </a:prstGeom>
            <a:solidFill>
              <a:srgbClr val="FFFFFF"/>
            </a:solidFill>
            <a:ln w="12700" cap="flat" cmpd="sng" algn="ctr">
              <a:solidFill>
                <a:schemeClr val="accent1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8" name="Rechthoek 47">
              <a:extLst>
                <a:ext uri="{FF2B5EF4-FFF2-40B4-BE49-F238E27FC236}">
                  <a16:creationId xmlns:a16="http://schemas.microsoft.com/office/drawing/2014/main" id="{42998167-4885-47AB-83E2-FAD43D593FE7}"/>
                </a:ext>
              </a:extLst>
            </p:cNvPr>
            <p:cNvSpPr/>
            <p:nvPr userDrawn="1"/>
          </p:nvSpPr>
          <p:spPr>
            <a:xfrm>
              <a:off x="-2533793" y="2314891"/>
              <a:ext cx="49894" cy="17163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9" name="Rechthoek 48">
              <a:extLst>
                <a:ext uri="{FF2B5EF4-FFF2-40B4-BE49-F238E27FC236}">
                  <a16:creationId xmlns:a16="http://schemas.microsoft.com/office/drawing/2014/main" id="{E380B290-0AAA-4130-8F07-136ED90C2DA4}"/>
                </a:ext>
              </a:extLst>
            </p:cNvPr>
            <p:cNvSpPr/>
            <p:nvPr userDrawn="1"/>
          </p:nvSpPr>
          <p:spPr>
            <a:xfrm>
              <a:off x="-2533793" y="2427071"/>
              <a:ext cx="49894" cy="17163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0" name="Rechthoek 49">
              <a:extLst>
                <a:ext uri="{FF2B5EF4-FFF2-40B4-BE49-F238E27FC236}">
                  <a16:creationId xmlns:a16="http://schemas.microsoft.com/office/drawing/2014/main" id="{8173BF0E-28B7-44D7-8335-397F592AAA28}"/>
                </a:ext>
              </a:extLst>
            </p:cNvPr>
            <p:cNvSpPr/>
            <p:nvPr userDrawn="1"/>
          </p:nvSpPr>
          <p:spPr>
            <a:xfrm>
              <a:off x="-2533793" y="2457830"/>
              <a:ext cx="49894" cy="17163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1" name="Rechthoek 50">
              <a:extLst>
                <a:ext uri="{FF2B5EF4-FFF2-40B4-BE49-F238E27FC236}">
                  <a16:creationId xmlns:a16="http://schemas.microsoft.com/office/drawing/2014/main" id="{304F5F19-B3EB-43A8-936B-486D597B1FA4}"/>
                </a:ext>
              </a:extLst>
            </p:cNvPr>
            <p:cNvSpPr/>
            <p:nvPr userDrawn="1"/>
          </p:nvSpPr>
          <p:spPr>
            <a:xfrm>
              <a:off x="-2463566" y="2314891"/>
              <a:ext cx="110783" cy="17163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2" name="Rechthoek 51">
              <a:extLst>
                <a:ext uri="{FF2B5EF4-FFF2-40B4-BE49-F238E27FC236}">
                  <a16:creationId xmlns:a16="http://schemas.microsoft.com/office/drawing/2014/main" id="{E18B99A6-291B-4A39-91CE-821F95D90633}"/>
                </a:ext>
              </a:extLst>
            </p:cNvPr>
            <p:cNvSpPr/>
            <p:nvPr userDrawn="1"/>
          </p:nvSpPr>
          <p:spPr>
            <a:xfrm>
              <a:off x="-2463566" y="2427071"/>
              <a:ext cx="110783" cy="17163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3" name="Rechthoek 52">
              <a:extLst>
                <a:ext uri="{FF2B5EF4-FFF2-40B4-BE49-F238E27FC236}">
                  <a16:creationId xmlns:a16="http://schemas.microsoft.com/office/drawing/2014/main" id="{4D6D4399-0704-4EAB-A3FB-2098849CF906}"/>
                </a:ext>
              </a:extLst>
            </p:cNvPr>
            <p:cNvSpPr/>
            <p:nvPr userDrawn="1"/>
          </p:nvSpPr>
          <p:spPr>
            <a:xfrm>
              <a:off x="-2463566" y="2457830"/>
              <a:ext cx="19386" cy="17163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4" name="Rechthoek 53">
              <a:extLst>
                <a:ext uri="{FF2B5EF4-FFF2-40B4-BE49-F238E27FC236}">
                  <a16:creationId xmlns:a16="http://schemas.microsoft.com/office/drawing/2014/main" id="{4A8C6C83-38B1-4BFE-BA4E-7707D08FACE1}"/>
                </a:ext>
              </a:extLst>
            </p:cNvPr>
            <p:cNvSpPr/>
            <p:nvPr userDrawn="1"/>
          </p:nvSpPr>
          <p:spPr>
            <a:xfrm>
              <a:off x="-2463566" y="2351512"/>
              <a:ext cx="110783" cy="17163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5" name="Rechthoek 54">
              <a:extLst>
                <a:ext uri="{FF2B5EF4-FFF2-40B4-BE49-F238E27FC236}">
                  <a16:creationId xmlns:a16="http://schemas.microsoft.com/office/drawing/2014/main" id="{28F79BBB-6222-480D-BBCB-246FD50184A4}"/>
                </a:ext>
              </a:extLst>
            </p:cNvPr>
            <p:cNvSpPr/>
            <p:nvPr userDrawn="1"/>
          </p:nvSpPr>
          <p:spPr>
            <a:xfrm>
              <a:off x="-2463566" y="2390191"/>
              <a:ext cx="66123" cy="22844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6" name="Rechthoek 55">
              <a:extLst>
                <a:ext uri="{FF2B5EF4-FFF2-40B4-BE49-F238E27FC236}">
                  <a16:creationId xmlns:a16="http://schemas.microsoft.com/office/drawing/2014/main" id="{57601F41-FEF3-4939-A92F-A6278AEECC78}"/>
                </a:ext>
              </a:extLst>
            </p:cNvPr>
            <p:cNvSpPr/>
            <p:nvPr userDrawn="1"/>
          </p:nvSpPr>
          <p:spPr>
            <a:xfrm>
              <a:off x="-2463566" y="2288938"/>
              <a:ext cx="9693" cy="17163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7" name="Rechthoek 56">
              <a:extLst>
                <a:ext uri="{FF2B5EF4-FFF2-40B4-BE49-F238E27FC236}">
                  <a16:creationId xmlns:a16="http://schemas.microsoft.com/office/drawing/2014/main" id="{9CB5F087-A06A-4054-8B50-084EBF2D22A1}"/>
                </a:ext>
              </a:extLst>
            </p:cNvPr>
            <p:cNvSpPr/>
            <p:nvPr userDrawn="1"/>
          </p:nvSpPr>
          <p:spPr>
            <a:xfrm>
              <a:off x="-2463566" y="2485433"/>
              <a:ext cx="9693" cy="17163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8" name="Vrije vorm 81">
              <a:extLst>
                <a:ext uri="{FF2B5EF4-FFF2-40B4-BE49-F238E27FC236}">
                  <a16:creationId xmlns:a16="http://schemas.microsoft.com/office/drawing/2014/main" id="{4704B8BE-1D4B-459C-81C0-3ABFF4F6E2B8}"/>
                </a:ext>
              </a:extLst>
            </p:cNvPr>
            <p:cNvSpPr/>
            <p:nvPr userDrawn="1"/>
          </p:nvSpPr>
          <p:spPr>
            <a:xfrm>
              <a:off x="-2560099" y="2345784"/>
              <a:ext cx="83088" cy="66075"/>
            </a:xfrm>
            <a:custGeom>
              <a:avLst/>
              <a:gdLst>
                <a:gd name="connsiteX0" fmla="*/ 635000 w 762000"/>
                <a:gd name="connsiteY0" fmla="*/ 0 h 575734"/>
                <a:gd name="connsiteX1" fmla="*/ 482600 w 762000"/>
                <a:gd name="connsiteY1" fmla="*/ 203200 h 575734"/>
                <a:gd name="connsiteX2" fmla="*/ 762000 w 762000"/>
                <a:gd name="connsiteY2" fmla="*/ 203200 h 575734"/>
                <a:gd name="connsiteX3" fmla="*/ 762000 w 762000"/>
                <a:gd name="connsiteY3" fmla="*/ 364067 h 575734"/>
                <a:gd name="connsiteX4" fmla="*/ 482600 w 762000"/>
                <a:gd name="connsiteY4" fmla="*/ 364067 h 575734"/>
                <a:gd name="connsiteX5" fmla="*/ 635000 w 762000"/>
                <a:gd name="connsiteY5" fmla="*/ 575734 h 575734"/>
                <a:gd name="connsiteX6" fmla="*/ 524933 w 762000"/>
                <a:gd name="connsiteY6" fmla="*/ 575734 h 575734"/>
                <a:gd name="connsiteX7" fmla="*/ 0 w 762000"/>
                <a:gd name="connsiteY7" fmla="*/ 313267 h 575734"/>
                <a:gd name="connsiteX8" fmla="*/ 533400 w 762000"/>
                <a:gd name="connsiteY8" fmla="*/ 0 h 575734"/>
                <a:gd name="connsiteX9" fmla="*/ 635000 w 762000"/>
                <a:gd name="connsiteY9" fmla="*/ 0 h 575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62000" h="575734">
                  <a:moveTo>
                    <a:pt x="635000" y="0"/>
                  </a:moveTo>
                  <a:lnTo>
                    <a:pt x="482600" y="203200"/>
                  </a:lnTo>
                  <a:lnTo>
                    <a:pt x="762000" y="203200"/>
                  </a:lnTo>
                  <a:lnTo>
                    <a:pt x="762000" y="364067"/>
                  </a:lnTo>
                  <a:lnTo>
                    <a:pt x="482600" y="364067"/>
                  </a:lnTo>
                  <a:lnTo>
                    <a:pt x="635000" y="575734"/>
                  </a:lnTo>
                  <a:lnTo>
                    <a:pt x="524933" y="575734"/>
                  </a:lnTo>
                  <a:lnTo>
                    <a:pt x="0" y="313267"/>
                  </a:lnTo>
                  <a:lnTo>
                    <a:pt x="533400" y="0"/>
                  </a:lnTo>
                  <a:lnTo>
                    <a:pt x="635000" y="0"/>
                  </a:lnTo>
                  <a:close/>
                </a:path>
              </a:pathLst>
            </a:custGeom>
            <a:solidFill>
              <a:srgbClr val="003C75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cxnSp>
          <p:nvCxnSpPr>
            <p:cNvPr id="59" name="Rechte verbindingslijn 58">
              <a:extLst>
                <a:ext uri="{FF2B5EF4-FFF2-40B4-BE49-F238E27FC236}">
                  <a16:creationId xmlns:a16="http://schemas.microsoft.com/office/drawing/2014/main" id="{B77E465E-4994-4410-BDFB-E74DA9915A43}"/>
                </a:ext>
              </a:extLst>
            </p:cNvPr>
            <p:cNvCxnSpPr>
              <a:cxnSpLocks/>
              <a:stCxn id="39" idx="2"/>
              <a:endCxn id="47" idx="1"/>
            </p:cNvCxnSpPr>
            <p:nvPr/>
          </p:nvCxnSpPr>
          <p:spPr>
            <a:xfrm>
              <a:off x="-3392370" y="2328000"/>
              <a:ext cx="779193" cy="67767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  <a:headEnd type="oval"/>
            </a:ln>
            <a:effectLst/>
          </p:spPr>
        </p:cxnSp>
        <p:cxnSp>
          <p:nvCxnSpPr>
            <p:cNvPr id="60" name="Rechte verbindingslijn 59">
              <a:extLst>
                <a:ext uri="{FF2B5EF4-FFF2-40B4-BE49-F238E27FC236}">
                  <a16:creationId xmlns:a16="http://schemas.microsoft.com/office/drawing/2014/main" id="{2ACA9F2F-7161-4B1B-95F0-773CFC065A9C}"/>
                </a:ext>
              </a:extLst>
            </p:cNvPr>
            <p:cNvCxnSpPr>
              <a:cxnSpLocks/>
              <a:stCxn id="38" idx="3"/>
            </p:cNvCxnSpPr>
            <p:nvPr/>
          </p:nvCxnSpPr>
          <p:spPr>
            <a:xfrm flipV="1">
              <a:off x="-3062950" y="1946509"/>
              <a:ext cx="449773" cy="274265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  <a:headEnd type="oval"/>
            </a:ln>
            <a:effectLst/>
          </p:spPr>
        </p:cxnSp>
        <p:sp>
          <p:nvSpPr>
            <p:cNvPr id="61" name="Textfield placeholder">
              <a:extLst>
                <a:ext uri="{FF2B5EF4-FFF2-40B4-BE49-F238E27FC236}">
                  <a16:creationId xmlns:a16="http://schemas.microsoft.com/office/drawing/2014/main" id="{67612CB7-E152-4146-9333-3571C004D037}"/>
                </a:ext>
              </a:extLst>
            </p:cNvPr>
            <p:cNvSpPr txBox="1">
              <a:spLocks/>
            </p:cNvSpPr>
            <p:nvPr/>
          </p:nvSpPr>
          <p:spPr>
            <a:xfrm>
              <a:off x="-2006299" y="1761809"/>
              <a:ext cx="1233012" cy="427698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46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69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1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Segoe UI Light" panose="020B0502040204020203" pitchFamily="34" charset="0"/>
                </a:rPr>
                <a:t>Niveau omhoog</a:t>
              </a:r>
            </a:p>
            <a:p>
              <a:pPr marL="0" marR="0" lvl="0" indent="0" algn="l" defTabSz="10869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1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Segoe UI Light" panose="020B0502040204020203" pitchFamily="34" charset="0"/>
                </a:rPr>
                <a:t>Level up</a:t>
              </a:r>
            </a:p>
          </p:txBody>
        </p:sp>
        <p:sp>
          <p:nvSpPr>
            <p:cNvPr id="62" name="Textfield placeholder">
              <a:extLst>
                <a:ext uri="{FF2B5EF4-FFF2-40B4-BE49-F238E27FC236}">
                  <a16:creationId xmlns:a16="http://schemas.microsoft.com/office/drawing/2014/main" id="{B587428E-F5C2-474E-98CF-480220D35364}"/>
                </a:ext>
              </a:extLst>
            </p:cNvPr>
            <p:cNvSpPr txBox="1">
              <a:spLocks/>
            </p:cNvSpPr>
            <p:nvPr/>
          </p:nvSpPr>
          <p:spPr>
            <a:xfrm>
              <a:off x="-2006300" y="2189360"/>
              <a:ext cx="1070223" cy="427699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46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69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1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Segoe UI Light" panose="020B0502040204020203" pitchFamily="34" charset="0"/>
                </a:rPr>
                <a:t>Niveau omlaag</a:t>
              </a:r>
            </a:p>
            <a:p>
              <a:pPr marL="0" marR="0" lvl="0" indent="0" algn="l" defTabSz="10869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1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Segoe UI Light" panose="020B0502040204020203" pitchFamily="34" charset="0"/>
                </a:rPr>
                <a:t>Level down</a:t>
              </a:r>
            </a:p>
          </p:txBody>
        </p:sp>
        <p:sp>
          <p:nvSpPr>
            <p:cNvPr id="64" name="Afgeronde rechthoek 67">
              <a:extLst>
                <a:ext uri="{FF2B5EF4-FFF2-40B4-BE49-F238E27FC236}">
                  <a16:creationId xmlns:a16="http://schemas.microsoft.com/office/drawing/2014/main" id="{43112927-0724-4911-9034-00F2111102C9}"/>
                </a:ext>
              </a:extLst>
            </p:cNvPr>
            <p:cNvSpPr/>
            <p:nvPr/>
          </p:nvSpPr>
          <p:spPr>
            <a:xfrm>
              <a:off x="-3519967" y="1706764"/>
              <a:ext cx="513775" cy="333502"/>
            </a:xfrm>
            <a:prstGeom prst="roundRect">
              <a:avLst>
                <a:gd name="adj" fmla="val 7565"/>
              </a:avLst>
            </a:prstGeom>
            <a:gradFill>
              <a:gsLst>
                <a:gs pos="0">
                  <a:srgbClr val="FFEC8F"/>
                </a:gs>
                <a:gs pos="100000">
                  <a:srgbClr val="FFFFFF"/>
                </a:gs>
              </a:gsLst>
              <a:lin ang="5400000" scaled="0"/>
            </a:gra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65" name="Vrije vorm 68">
              <a:extLst>
                <a:ext uri="{FF2B5EF4-FFF2-40B4-BE49-F238E27FC236}">
                  <a16:creationId xmlns:a16="http://schemas.microsoft.com/office/drawing/2014/main" id="{BAA50536-9DAC-4DE5-9192-7EDE0EE866F1}"/>
                </a:ext>
              </a:extLst>
            </p:cNvPr>
            <p:cNvSpPr/>
            <p:nvPr/>
          </p:nvSpPr>
          <p:spPr>
            <a:xfrm>
              <a:off x="-3526032" y="1748201"/>
              <a:ext cx="519840" cy="297000"/>
            </a:xfrm>
            <a:custGeom>
              <a:avLst/>
              <a:gdLst>
                <a:gd name="connsiteX0" fmla="*/ 55524 w 528695"/>
                <a:gd name="connsiteY0" fmla="*/ 0 h 302059"/>
                <a:gd name="connsiteX1" fmla="*/ 455496 w 528695"/>
                <a:gd name="connsiteY1" fmla="*/ 0 h 302059"/>
                <a:gd name="connsiteX2" fmla="*/ 475205 w 528695"/>
                <a:gd name="connsiteY2" fmla="*/ 19709 h 302059"/>
                <a:gd name="connsiteX3" fmla="*/ 475205 w 528695"/>
                <a:gd name="connsiteY3" fmla="*/ 230056 h 302059"/>
                <a:gd name="connsiteX4" fmla="*/ 516694 w 528695"/>
                <a:gd name="connsiteY4" fmla="*/ 230056 h 302059"/>
                <a:gd name="connsiteX5" fmla="*/ 528695 w 528695"/>
                <a:gd name="connsiteY5" fmla="*/ 242057 h 302059"/>
                <a:gd name="connsiteX6" fmla="*/ 528695 w 528695"/>
                <a:gd name="connsiteY6" fmla="*/ 290058 h 302059"/>
                <a:gd name="connsiteX7" fmla="*/ 516694 w 528695"/>
                <a:gd name="connsiteY7" fmla="*/ 302059 h 302059"/>
                <a:gd name="connsiteX8" fmla="*/ 12001 w 528695"/>
                <a:gd name="connsiteY8" fmla="*/ 302059 h 302059"/>
                <a:gd name="connsiteX9" fmla="*/ 0 w 528695"/>
                <a:gd name="connsiteY9" fmla="*/ 290058 h 302059"/>
                <a:gd name="connsiteX10" fmla="*/ 0 w 528695"/>
                <a:gd name="connsiteY10" fmla="*/ 242057 h 302059"/>
                <a:gd name="connsiteX11" fmla="*/ 12001 w 528695"/>
                <a:gd name="connsiteY11" fmla="*/ 230056 h 302059"/>
                <a:gd name="connsiteX12" fmla="*/ 35815 w 528695"/>
                <a:gd name="connsiteY12" fmla="*/ 230056 h 302059"/>
                <a:gd name="connsiteX13" fmla="*/ 35815 w 528695"/>
                <a:gd name="connsiteY13" fmla="*/ 19709 h 302059"/>
                <a:gd name="connsiteX14" fmla="*/ 55524 w 528695"/>
                <a:gd name="connsiteY14" fmla="*/ 0 h 302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28695" h="302059">
                  <a:moveTo>
                    <a:pt x="55524" y="0"/>
                  </a:moveTo>
                  <a:lnTo>
                    <a:pt x="455496" y="0"/>
                  </a:lnTo>
                  <a:cubicBezTo>
                    <a:pt x="466381" y="0"/>
                    <a:pt x="475205" y="8824"/>
                    <a:pt x="475205" y="19709"/>
                  </a:cubicBezTo>
                  <a:lnTo>
                    <a:pt x="475205" y="230056"/>
                  </a:lnTo>
                  <a:lnTo>
                    <a:pt x="516694" y="230056"/>
                  </a:lnTo>
                  <a:cubicBezTo>
                    <a:pt x="523322" y="230056"/>
                    <a:pt x="528695" y="235429"/>
                    <a:pt x="528695" y="242057"/>
                  </a:cubicBezTo>
                  <a:lnTo>
                    <a:pt x="528695" y="290058"/>
                  </a:lnTo>
                  <a:cubicBezTo>
                    <a:pt x="528695" y="296686"/>
                    <a:pt x="523322" y="302059"/>
                    <a:pt x="516694" y="302059"/>
                  </a:cubicBezTo>
                  <a:lnTo>
                    <a:pt x="12001" y="302059"/>
                  </a:lnTo>
                  <a:cubicBezTo>
                    <a:pt x="5373" y="302059"/>
                    <a:pt x="0" y="296686"/>
                    <a:pt x="0" y="290058"/>
                  </a:cubicBezTo>
                  <a:lnTo>
                    <a:pt x="0" y="242057"/>
                  </a:lnTo>
                  <a:cubicBezTo>
                    <a:pt x="0" y="235429"/>
                    <a:pt x="5373" y="230056"/>
                    <a:pt x="12001" y="230056"/>
                  </a:cubicBezTo>
                  <a:lnTo>
                    <a:pt x="35815" y="230056"/>
                  </a:lnTo>
                  <a:lnTo>
                    <a:pt x="35815" y="19709"/>
                  </a:lnTo>
                  <a:cubicBezTo>
                    <a:pt x="35815" y="8824"/>
                    <a:pt x="44639" y="0"/>
                    <a:pt x="55524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9525" cap="flat" cmpd="sng" algn="ctr">
              <a:solidFill>
                <a:srgbClr val="9DAB99">
                  <a:lumMod val="90000"/>
                </a:srgbClr>
              </a:solidFill>
              <a:prstDash val="solid"/>
            </a:ln>
            <a:effectLst/>
          </p:spPr>
          <p:txBody>
            <a:bodyPr rot="0" spcFirstLastPara="0" vert="horz" wrap="square" lIns="108000" tIns="36000" rIns="108000" bIns="108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nl-NL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Start</a:t>
              </a:r>
            </a:p>
          </p:txBody>
        </p:sp>
        <p:cxnSp>
          <p:nvCxnSpPr>
            <p:cNvPr id="66" name="Rechte verbindingslijn 65">
              <a:extLst>
                <a:ext uri="{FF2B5EF4-FFF2-40B4-BE49-F238E27FC236}">
                  <a16:creationId xmlns:a16="http://schemas.microsoft.com/office/drawing/2014/main" id="{C3AAF1EA-6F8D-481D-8838-22DBC5413BE7}"/>
                </a:ext>
              </a:extLst>
            </p:cNvPr>
            <p:cNvCxnSpPr>
              <a:cxnSpLocks/>
            </p:cNvCxnSpPr>
            <p:nvPr/>
          </p:nvCxnSpPr>
          <p:spPr>
            <a:xfrm>
              <a:off x="-3521423" y="1600939"/>
              <a:ext cx="4214015" cy="0"/>
            </a:xfrm>
            <a:prstGeom prst="line">
              <a:avLst/>
            </a:prstGeom>
            <a:noFill/>
            <a:ln w="9525" cap="flat" cmpd="sng" algn="ctr">
              <a:solidFill>
                <a:schemeClr val="accent2"/>
              </a:solidFill>
              <a:prstDash val="solid"/>
            </a:ln>
            <a:effectLst/>
          </p:spPr>
        </p:cxnSp>
        <p:grpSp>
          <p:nvGrpSpPr>
            <p:cNvPr id="67" name="Groep 66">
              <a:extLst>
                <a:ext uri="{FF2B5EF4-FFF2-40B4-BE49-F238E27FC236}">
                  <a16:creationId xmlns:a16="http://schemas.microsoft.com/office/drawing/2014/main" id="{DFE0C172-BC2D-4D64-BDB6-CDF2202E72B8}"/>
                </a:ext>
              </a:extLst>
            </p:cNvPr>
            <p:cNvGrpSpPr/>
            <p:nvPr userDrawn="1"/>
          </p:nvGrpSpPr>
          <p:grpSpPr>
            <a:xfrm flipH="1">
              <a:off x="-2613177" y="1836300"/>
              <a:ext cx="313472" cy="324076"/>
              <a:chOff x="-2613177" y="1836300"/>
              <a:chExt cx="313472" cy="324076"/>
            </a:xfrm>
          </p:grpSpPr>
          <p:sp>
            <p:nvSpPr>
              <p:cNvPr id="68" name="Afgeronde rechthoek 69">
                <a:extLst>
                  <a:ext uri="{FF2B5EF4-FFF2-40B4-BE49-F238E27FC236}">
                    <a16:creationId xmlns:a16="http://schemas.microsoft.com/office/drawing/2014/main" id="{61516DF4-C97E-472B-A649-DEF3C006D0D3}"/>
                  </a:ext>
                </a:extLst>
              </p:cNvPr>
              <p:cNvSpPr/>
              <p:nvPr userDrawn="1"/>
            </p:nvSpPr>
            <p:spPr>
              <a:xfrm>
                <a:off x="-2613177" y="1836300"/>
                <a:ext cx="313472" cy="324076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accent1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69" name="Rechthoek 68">
                <a:extLst>
                  <a:ext uri="{FF2B5EF4-FFF2-40B4-BE49-F238E27FC236}">
                    <a16:creationId xmlns:a16="http://schemas.microsoft.com/office/drawing/2014/main" id="{E88D2C4A-19E7-4422-B250-8498F51DA8F7}"/>
                  </a:ext>
                </a:extLst>
              </p:cNvPr>
              <p:cNvSpPr/>
              <p:nvPr userDrawn="1"/>
            </p:nvSpPr>
            <p:spPr>
              <a:xfrm>
                <a:off x="-2533793" y="1917462"/>
                <a:ext cx="49894" cy="17163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70" name="Rechthoek 69">
                <a:extLst>
                  <a:ext uri="{FF2B5EF4-FFF2-40B4-BE49-F238E27FC236}">
                    <a16:creationId xmlns:a16="http://schemas.microsoft.com/office/drawing/2014/main" id="{A5208688-A8E9-4B12-BD22-7E21B50E632F}"/>
                  </a:ext>
                </a:extLst>
              </p:cNvPr>
              <p:cNvSpPr/>
              <p:nvPr userDrawn="1"/>
            </p:nvSpPr>
            <p:spPr>
              <a:xfrm>
                <a:off x="-2533793" y="2029642"/>
                <a:ext cx="49894" cy="17163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71" name="Rechthoek 70">
                <a:extLst>
                  <a:ext uri="{FF2B5EF4-FFF2-40B4-BE49-F238E27FC236}">
                    <a16:creationId xmlns:a16="http://schemas.microsoft.com/office/drawing/2014/main" id="{C1EC612B-15F0-4635-A1FD-033A04B859B5}"/>
                  </a:ext>
                </a:extLst>
              </p:cNvPr>
              <p:cNvSpPr/>
              <p:nvPr userDrawn="1"/>
            </p:nvSpPr>
            <p:spPr>
              <a:xfrm>
                <a:off x="-2533793" y="2060401"/>
                <a:ext cx="49894" cy="17163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72" name="Rechthoek 71">
                <a:extLst>
                  <a:ext uri="{FF2B5EF4-FFF2-40B4-BE49-F238E27FC236}">
                    <a16:creationId xmlns:a16="http://schemas.microsoft.com/office/drawing/2014/main" id="{424D998B-A988-4F8D-8B18-3037CE5FE02A}"/>
                  </a:ext>
                </a:extLst>
              </p:cNvPr>
              <p:cNvSpPr/>
              <p:nvPr userDrawn="1"/>
            </p:nvSpPr>
            <p:spPr>
              <a:xfrm>
                <a:off x="-2463566" y="1917462"/>
                <a:ext cx="110783" cy="17163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73" name="Rechthoek 72">
                <a:extLst>
                  <a:ext uri="{FF2B5EF4-FFF2-40B4-BE49-F238E27FC236}">
                    <a16:creationId xmlns:a16="http://schemas.microsoft.com/office/drawing/2014/main" id="{9892A9BE-4BF8-419B-9D77-7D83C0A1FB6D}"/>
                  </a:ext>
                </a:extLst>
              </p:cNvPr>
              <p:cNvSpPr/>
              <p:nvPr userDrawn="1"/>
            </p:nvSpPr>
            <p:spPr>
              <a:xfrm>
                <a:off x="-2463566" y="2029642"/>
                <a:ext cx="110783" cy="17163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74" name="Rechthoek 73">
                <a:extLst>
                  <a:ext uri="{FF2B5EF4-FFF2-40B4-BE49-F238E27FC236}">
                    <a16:creationId xmlns:a16="http://schemas.microsoft.com/office/drawing/2014/main" id="{C45066B9-85D1-42C4-BAB7-65B5653794A9}"/>
                  </a:ext>
                </a:extLst>
              </p:cNvPr>
              <p:cNvSpPr/>
              <p:nvPr userDrawn="1"/>
            </p:nvSpPr>
            <p:spPr>
              <a:xfrm>
                <a:off x="-2463566" y="2060401"/>
                <a:ext cx="19386" cy="17163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75" name="Rechthoek 74">
                <a:extLst>
                  <a:ext uri="{FF2B5EF4-FFF2-40B4-BE49-F238E27FC236}">
                    <a16:creationId xmlns:a16="http://schemas.microsoft.com/office/drawing/2014/main" id="{D509E1D1-2E87-42B0-8ED4-3639463FD97A}"/>
                  </a:ext>
                </a:extLst>
              </p:cNvPr>
              <p:cNvSpPr/>
              <p:nvPr userDrawn="1"/>
            </p:nvSpPr>
            <p:spPr>
              <a:xfrm>
                <a:off x="-2463566" y="1954083"/>
                <a:ext cx="110783" cy="17163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76" name="Rechthoek 75">
                <a:extLst>
                  <a:ext uri="{FF2B5EF4-FFF2-40B4-BE49-F238E27FC236}">
                    <a16:creationId xmlns:a16="http://schemas.microsoft.com/office/drawing/2014/main" id="{4142553F-BC77-45ED-9F88-13220EF1112E}"/>
                  </a:ext>
                </a:extLst>
              </p:cNvPr>
              <p:cNvSpPr/>
              <p:nvPr userDrawn="1"/>
            </p:nvSpPr>
            <p:spPr>
              <a:xfrm>
                <a:off x="-2463566" y="1992762"/>
                <a:ext cx="66123" cy="22844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77" name="Rechthoek 76">
                <a:extLst>
                  <a:ext uri="{FF2B5EF4-FFF2-40B4-BE49-F238E27FC236}">
                    <a16:creationId xmlns:a16="http://schemas.microsoft.com/office/drawing/2014/main" id="{B6166E0B-26D8-438C-8884-DB863EE2C2F8}"/>
                  </a:ext>
                </a:extLst>
              </p:cNvPr>
              <p:cNvSpPr/>
              <p:nvPr userDrawn="1"/>
            </p:nvSpPr>
            <p:spPr>
              <a:xfrm>
                <a:off x="-2463566" y="1891509"/>
                <a:ext cx="9693" cy="17163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78" name="Rechthoek 77">
                <a:extLst>
                  <a:ext uri="{FF2B5EF4-FFF2-40B4-BE49-F238E27FC236}">
                    <a16:creationId xmlns:a16="http://schemas.microsoft.com/office/drawing/2014/main" id="{98D98984-474F-42C2-A901-161A291E73A7}"/>
                  </a:ext>
                </a:extLst>
              </p:cNvPr>
              <p:cNvSpPr/>
              <p:nvPr userDrawn="1"/>
            </p:nvSpPr>
            <p:spPr>
              <a:xfrm>
                <a:off x="-2463566" y="2088004"/>
                <a:ext cx="9693" cy="17163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79" name="Vrije vorm 81">
                <a:extLst>
                  <a:ext uri="{FF2B5EF4-FFF2-40B4-BE49-F238E27FC236}">
                    <a16:creationId xmlns:a16="http://schemas.microsoft.com/office/drawing/2014/main" id="{972FCEFD-2131-4886-AB26-47210906AA6B}"/>
                  </a:ext>
                </a:extLst>
              </p:cNvPr>
              <p:cNvSpPr/>
              <p:nvPr userDrawn="1"/>
            </p:nvSpPr>
            <p:spPr>
              <a:xfrm>
                <a:off x="-2560099" y="1948355"/>
                <a:ext cx="83088" cy="66075"/>
              </a:xfrm>
              <a:custGeom>
                <a:avLst/>
                <a:gdLst>
                  <a:gd name="connsiteX0" fmla="*/ 635000 w 762000"/>
                  <a:gd name="connsiteY0" fmla="*/ 0 h 575734"/>
                  <a:gd name="connsiteX1" fmla="*/ 482600 w 762000"/>
                  <a:gd name="connsiteY1" fmla="*/ 203200 h 575734"/>
                  <a:gd name="connsiteX2" fmla="*/ 762000 w 762000"/>
                  <a:gd name="connsiteY2" fmla="*/ 203200 h 575734"/>
                  <a:gd name="connsiteX3" fmla="*/ 762000 w 762000"/>
                  <a:gd name="connsiteY3" fmla="*/ 364067 h 575734"/>
                  <a:gd name="connsiteX4" fmla="*/ 482600 w 762000"/>
                  <a:gd name="connsiteY4" fmla="*/ 364067 h 575734"/>
                  <a:gd name="connsiteX5" fmla="*/ 635000 w 762000"/>
                  <a:gd name="connsiteY5" fmla="*/ 575734 h 575734"/>
                  <a:gd name="connsiteX6" fmla="*/ 524933 w 762000"/>
                  <a:gd name="connsiteY6" fmla="*/ 575734 h 575734"/>
                  <a:gd name="connsiteX7" fmla="*/ 0 w 762000"/>
                  <a:gd name="connsiteY7" fmla="*/ 313267 h 575734"/>
                  <a:gd name="connsiteX8" fmla="*/ 533400 w 762000"/>
                  <a:gd name="connsiteY8" fmla="*/ 0 h 575734"/>
                  <a:gd name="connsiteX9" fmla="*/ 635000 w 762000"/>
                  <a:gd name="connsiteY9" fmla="*/ 0 h 5757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62000" h="575734">
                    <a:moveTo>
                      <a:pt x="635000" y="0"/>
                    </a:moveTo>
                    <a:lnTo>
                      <a:pt x="482600" y="203200"/>
                    </a:lnTo>
                    <a:lnTo>
                      <a:pt x="762000" y="203200"/>
                    </a:lnTo>
                    <a:lnTo>
                      <a:pt x="762000" y="364067"/>
                    </a:lnTo>
                    <a:lnTo>
                      <a:pt x="482600" y="364067"/>
                    </a:lnTo>
                    <a:lnTo>
                      <a:pt x="635000" y="575734"/>
                    </a:lnTo>
                    <a:lnTo>
                      <a:pt x="524933" y="575734"/>
                    </a:lnTo>
                    <a:lnTo>
                      <a:pt x="0" y="313267"/>
                    </a:lnTo>
                    <a:lnTo>
                      <a:pt x="533400" y="0"/>
                    </a:lnTo>
                    <a:lnTo>
                      <a:pt x="635000" y="0"/>
                    </a:lnTo>
                    <a:close/>
                  </a:path>
                </a:pathLst>
              </a:custGeom>
              <a:solidFill>
                <a:srgbClr val="003C75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120" name="Textfield placeholder">
              <a:extLst>
                <a:ext uri="{FF2B5EF4-FFF2-40B4-BE49-F238E27FC236}">
                  <a16:creationId xmlns:a16="http://schemas.microsoft.com/office/drawing/2014/main" id="{BB5A74E4-367F-436A-88AF-4EECA39C9AD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3341553" y="3300318"/>
              <a:ext cx="3794626" cy="2615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46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696600" marR="0" lvl="1" indent="-46800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400"/>
                </a:spcAft>
                <a:buClr>
                  <a:schemeClr val="accent2"/>
                </a:buClr>
                <a:buSzPct val="100000"/>
                <a:buFont typeface="Century Gothic" panose="020B0502020202020204" pitchFamily="34" charset="0"/>
                <a:buChar char="▬"/>
                <a:tabLst/>
                <a:defRPr/>
              </a:pPr>
              <a:r>
                <a:rPr lang="nl-NL" sz="2000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Tweede niveau (20pt)</a:t>
              </a:r>
            </a:p>
          </p:txBody>
        </p:sp>
        <p:sp>
          <p:nvSpPr>
            <p:cNvPr id="121" name="Textfield placeholder">
              <a:extLst>
                <a:ext uri="{FF2B5EF4-FFF2-40B4-BE49-F238E27FC236}">
                  <a16:creationId xmlns:a16="http://schemas.microsoft.com/office/drawing/2014/main" id="{3F53EC3E-915F-4E09-B4B0-13AD082172B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3070129" y="3727907"/>
              <a:ext cx="3762721" cy="2615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46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864875" marR="0" lvl="2" indent="-46800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400"/>
                </a:spcAft>
                <a:buClr>
                  <a:schemeClr val="accent2"/>
                </a:buClr>
                <a:buSzPct val="100000"/>
                <a:buFont typeface="Century Gothic" panose="020B0502020202020204" pitchFamily="34" charset="0"/>
                <a:buChar char="▬"/>
                <a:tabLst/>
                <a:defRPr/>
              </a:pPr>
              <a:r>
                <a:rPr lang="nl-NL" sz="1800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Derde niveau (18pt)</a:t>
              </a:r>
            </a:p>
          </p:txBody>
        </p:sp>
        <p:sp>
          <p:nvSpPr>
            <p:cNvPr id="122" name="Textfield placeholder">
              <a:extLst>
                <a:ext uri="{FF2B5EF4-FFF2-40B4-BE49-F238E27FC236}">
                  <a16:creationId xmlns:a16="http://schemas.microsoft.com/office/drawing/2014/main" id="{4B3DBD31-4DBA-4FA8-8E47-CD6FDC06EF1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2613177" y="4155496"/>
              <a:ext cx="3305769" cy="2615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46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864875" marR="0" lvl="2" indent="-46800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400"/>
                </a:spcAft>
                <a:buClr>
                  <a:schemeClr val="accent2"/>
                </a:buClr>
                <a:buSzPct val="100000"/>
                <a:buFont typeface="Century Gothic" panose="020B0502020202020204" pitchFamily="34" charset="0"/>
                <a:buChar char="▬"/>
                <a:tabLst/>
                <a:defRPr/>
              </a:pPr>
              <a:r>
                <a:rPr lang="nl-NL" sz="1600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Vierde niveau (16pt)</a:t>
              </a:r>
            </a:p>
          </p:txBody>
        </p:sp>
        <p:sp>
          <p:nvSpPr>
            <p:cNvPr id="123" name="Textfield placeholder">
              <a:extLst>
                <a:ext uri="{FF2B5EF4-FFF2-40B4-BE49-F238E27FC236}">
                  <a16:creationId xmlns:a16="http://schemas.microsoft.com/office/drawing/2014/main" id="{6FB8D7E3-9F3D-4EF0-9C8A-088786311FC0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2188113" y="4583085"/>
              <a:ext cx="2880705" cy="2615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46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864875" marR="0" lvl="2" indent="-46800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400"/>
                </a:spcAft>
                <a:buClr>
                  <a:schemeClr val="accent2"/>
                </a:buClr>
                <a:buSzPct val="100000"/>
                <a:buFont typeface="Century Gothic" panose="020B0502020202020204" pitchFamily="34" charset="0"/>
                <a:buChar char="▬"/>
                <a:tabLst/>
                <a:defRPr/>
              </a:pPr>
              <a:r>
                <a:rPr lang="nl-NL" sz="1600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Vijfde niveau (16pt)</a:t>
              </a:r>
            </a:p>
          </p:txBody>
        </p:sp>
      </p:grpSp>
      <p:sp>
        <p:nvSpPr>
          <p:cNvPr id="7" name="Tijdelijke aanduiding voor voettekst 6">
            <a:extLst>
              <a:ext uri="{FF2B5EF4-FFF2-40B4-BE49-F238E27FC236}">
                <a16:creationId xmlns:a16="http://schemas.microsoft.com/office/drawing/2014/main" id="{216624FE-7E7B-417B-954A-44EECD185F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200752"/>
            <a:ext cx="90018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8" name="Tijdelijke aanduiding voor dianummer 7">
            <a:extLst>
              <a:ext uri="{FF2B5EF4-FFF2-40B4-BE49-F238E27FC236}">
                <a16:creationId xmlns:a16="http://schemas.microsoft.com/office/drawing/2014/main" id="{81637484-A90B-4745-B275-9C1F0E1055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21814" y="6212089"/>
            <a:ext cx="1513764" cy="365125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24" name="Rechthoek 123">
            <a:extLst>
              <a:ext uri="{FF2B5EF4-FFF2-40B4-BE49-F238E27FC236}">
                <a16:creationId xmlns:a16="http://schemas.microsoft.com/office/drawing/2014/main" id="{F7DE521A-FD28-4674-8870-99C9719D9BA8}"/>
              </a:ext>
            </a:extLst>
          </p:cNvPr>
          <p:cNvSpPr/>
          <p:nvPr/>
        </p:nvSpPr>
        <p:spPr>
          <a:xfrm>
            <a:off x="12580194" y="352036"/>
            <a:ext cx="4366686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ttekst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anpass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van de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esentati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25" name="Rechte verbindingslijn 124">
            <a:extLst>
              <a:ext uri="{FF2B5EF4-FFF2-40B4-BE49-F238E27FC236}">
                <a16:creationId xmlns:a16="http://schemas.microsoft.com/office/drawing/2014/main" id="{1606B710-69A2-4620-9154-26E4E739F958}"/>
              </a:ext>
            </a:extLst>
          </p:cNvPr>
          <p:cNvCxnSpPr>
            <a:cxnSpLocks/>
          </p:cNvCxnSpPr>
          <p:nvPr/>
        </p:nvCxnSpPr>
        <p:spPr>
          <a:xfrm>
            <a:off x="12753530" y="631447"/>
            <a:ext cx="3627293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26" name="Tekstvak 125">
            <a:extLst>
              <a:ext uri="{FF2B5EF4-FFF2-40B4-BE49-F238E27FC236}">
                <a16:creationId xmlns:a16="http://schemas.microsoft.com/office/drawing/2014/main" id="{17A1C232-30B9-4B07-8AB1-FC3713EAA6F3}"/>
              </a:ext>
            </a:extLst>
          </p:cNvPr>
          <p:cNvSpPr txBox="1"/>
          <p:nvPr/>
        </p:nvSpPr>
        <p:spPr>
          <a:xfrm>
            <a:off x="12753526" y="731927"/>
            <a:ext cx="2877725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Invoegen &gt;  Groep tekst &gt; Koptekst en voettekst &gt; titel instellen bij voettekst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Inser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 &gt;  Group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tex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Header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nd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footer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Set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title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at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footer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</p:txBody>
      </p:sp>
      <p:sp>
        <p:nvSpPr>
          <p:cNvPr id="127" name="Rechthoek 126">
            <a:extLst>
              <a:ext uri="{FF2B5EF4-FFF2-40B4-BE49-F238E27FC236}">
                <a16:creationId xmlns:a16="http://schemas.microsoft.com/office/drawing/2014/main" id="{595DBF75-C33F-4774-8827-9E0A498545CE}"/>
              </a:ext>
            </a:extLst>
          </p:cNvPr>
          <p:cNvSpPr/>
          <p:nvPr/>
        </p:nvSpPr>
        <p:spPr>
          <a:xfrm>
            <a:off x="12589536" y="1861361"/>
            <a:ext cx="2868384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conen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28" name="Rechte verbindingslijn 127">
            <a:extLst>
              <a:ext uri="{FF2B5EF4-FFF2-40B4-BE49-F238E27FC236}">
                <a16:creationId xmlns:a16="http://schemas.microsoft.com/office/drawing/2014/main" id="{D74EB6B8-DB92-4985-BEEC-A404250CE3BD}"/>
              </a:ext>
            </a:extLst>
          </p:cNvPr>
          <p:cNvCxnSpPr>
            <a:cxnSpLocks/>
          </p:cNvCxnSpPr>
          <p:nvPr/>
        </p:nvCxnSpPr>
        <p:spPr>
          <a:xfrm>
            <a:off x="12762872" y="2119801"/>
            <a:ext cx="3617951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29" name="Tekstvak 128">
            <a:extLst>
              <a:ext uri="{FF2B5EF4-FFF2-40B4-BE49-F238E27FC236}">
                <a16:creationId xmlns:a16="http://schemas.microsoft.com/office/drawing/2014/main" id="{BD41E6CE-F692-4727-823E-4195EF1427C4}"/>
              </a:ext>
            </a:extLst>
          </p:cNvPr>
          <p:cNvSpPr txBox="1"/>
          <p:nvPr/>
        </p:nvSpPr>
        <p:spPr>
          <a:xfrm>
            <a:off x="12762868" y="2189940"/>
            <a:ext cx="3617950" cy="1306875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iconen in te voegen, kopieer je ze van de laatste slide, selecteer je het vakje waar het moet komen en druk je CTRL+V.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Kleuren aanpass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Icoon selecteren &gt; lint bovenaan &gt; vormcontour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F </a:t>
            </a:r>
            <a:r>
              <a:rPr kumimoji="0" lang="nl-BE" sz="1100" b="0" i="0" u="none" strike="noStrike" kern="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Icoon selecteren &gt; rechtermuisknop &gt; vormcontour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icon &gt; lint bovenaan &gt; 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hape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contour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R </a:t>
            </a:r>
            <a:r>
              <a:rPr kumimoji="0" lang="nl-BE" sz="1100" b="0" i="0" u="none" strike="noStrike" kern="0" cap="none" spc="0" normalizeH="0" baseline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 icon &gt; rechtermuisknop &gt; </a:t>
            </a:r>
            <a:r>
              <a:rPr kumimoji="0" lang="nl-BE" sz="1100" b="0" i="0" u="none" strike="noStrike" kern="0" cap="none" spc="0" normalizeH="0" baseline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hape</a:t>
            </a:r>
            <a:r>
              <a:rPr kumimoji="0" lang="nl-BE" sz="1100" b="0" i="0" u="none" strike="noStrike" kern="0" cap="none" spc="0" normalizeH="0" baseline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contour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</p:txBody>
      </p:sp>
      <p:pic>
        <p:nvPicPr>
          <p:cNvPr id="90" name="Graphic 89">
            <a:extLst>
              <a:ext uri="{FF2B5EF4-FFF2-40B4-BE49-F238E27FC236}">
                <a16:creationId xmlns:a16="http://schemas.microsoft.com/office/drawing/2014/main" id="{515D763A-B394-4593-A8EB-D92117ECA1B4}"/>
              </a:ext>
            </a:extLst>
          </p:cNvPr>
          <p:cNvPicPr>
            <a:picLocks noChangeAspect="1"/>
          </p:cNvPicPr>
          <p:nvPr/>
        </p:nvPicPr>
        <p:blipFill>
          <a:blip r:embed="rId4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0"/>
              </a:ext>
            </a:extLst>
          </a:blip>
          <a:srcRect/>
          <a:stretch/>
        </p:blipFill>
        <p:spPr>
          <a:xfrm>
            <a:off x="11442114" y="463348"/>
            <a:ext cx="593464" cy="283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12408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  <p:sldLayoutId id="2147483692" r:id="rId9"/>
    <p:sldLayoutId id="2147483693" r:id="rId10"/>
    <p:sldLayoutId id="2147483694" r:id="rId11"/>
    <p:sldLayoutId id="2147483695" r:id="rId12"/>
    <p:sldLayoutId id="2147483696" r:id="rId13"/>
    <p:sldLayoutId id="2147483697" r:id="rId14"/>
    <p:sldLayoutId id="2147483698" r:id="rId15"/>
    <p:sldLayoutId id="2147483699" r:id="rId16"/>
    <p:sldLayoutId id="2147483700" r:id="rId17"/>
    <p:sldLayoutId id="2147483701" r:id="rId18"/>
    <p:sldLayoutId id="2147483702" r:id="rId19"/>
    <p:sldLayoutId id="2147483703" r:id="rId20"/>
    <p:sldLayoutId id="2147483704" r:id="rId21"/>
    <p:sldLayoutId id="2147483705" r:id="rId22"/>
    <p:sldLayoutId id="2147483706" r:id="rId23"/>
    <p:sldLayoutId id="2147483707" r:id="rId24"/>
    <p:sldLayoutId id="2147483708" r:id="rId25"/>
    <p:sldLayoutId id="2147483709" r:id="rId26"/>
    <p:sldLayoutId id="2147483710" r:id="rId27"/>
    <p:sldLayoutId id="2147483711" r:id="rId28"/>
    <p:sldLayoutId id="2147483712" r:id="rId29"/>
    <p:sldLayoutId id="2147483713" r:id="rId30"/>
    <p:sldLayoutId id="2147483714" r:id="rId31"/>
    <p:sldLayoutId id="2147483715" r:id="rId32"/>
    <p:sldLayoutId id="2147483716" r:id="rId33"/>
    <p:sldLayoutId id="2147483717" r:id="rId34"/>
    <p:sldLayoutId id="2147483718" r:id="rId35"/>
    <p:sldLayoutId id="2147483719" r:id="rId36"/>
    <p:sldLayoutId id="2147483720" r:id="rId37"/>
    <p:sldLayoutId id="2147483721" r:id="rId38"/>
    <p:sldLayoutId id="2147483722" r:id="rId39"/>
    <p:sldLayoutId id="2147483725" r:id="rId40"/>
    <p:sldLayoutId id="2147483726" r:id="rId4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GB" sz="4400" b="0" kern="1200" dirty="0" smtClean="0"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  <a:latin typeface="+mj-lt"/>
          <a:ea typeface="+mj-ea"/>
          <a:cs typeface="+mj-cs"/>
        </a:defRPr>
      </a:lvl1pPr>
    </p:titleStyle>
    <p:bodyStyle>
      <a:lvl1pPr marL="468000" indent="-468000" algn="l" defTabSz="914400" rtl="0" eaLnBrk="1" latinLnBrk="0" hangingPunct="1">
        <a:lnSpc>
          <a:spcPct val="90000"/>
        </a:lnSpc>
        <a:spcBef>
          <a:spcPts val="1000"/>
        </a:spcBef>
        <a:buClr>
          <a:schemeClr val="accent2"/>
        </a:buClr>
        <a:buFontTx/>
        <a:buBlip>
          <a:blip r:embed="rId51">
            <a:extLst>
              <a:ext uri="{96DAC541-7B7A-43D3-8B79-37D633B846F1}">
                <asvg:svgBlip xmlns:asvg="http://schemas.microsoft.com/office/drawing/2016/SVG/main" r:embed="rId52"/>
              </a:ext>
            </a:extLst>
          </a:blip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900000" indent="-4320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Tx/>
        <a:buBlip>
          <a:blip r:embed="rId51">
            <a:extLst>
              <a:ext uri="{96DAC541-7B7A-43D3-8B79-37D633B846F1}">
                <asvg:svgBlip xmlns:asvg="http://schemas.microsoft.com/office/drawing/2016/SVG/main" r:embed="rId52"/>
              </a:ext>
            </a:extLst>
          </a:blip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332000" indent="-4320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Tx/>
        <a:buBlip>
          <a:blip r:embed="rId51">
            <a:extLst>
              <a:ext uri="{96DAC541-7B7A-43D3-8B79-37D633B846F1}">
                <asvg:svgBlip xmlns:asvg="http://schemas.microsoft.com/office/drawing/2016/SVG/main" r:embed="rId52"/>
              </a:ext>
            </a:extLst>
          </a:blip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764000" indent="-4320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Tx/>
        <a:buBlip>
          <a:blip r:embed="rId51">
            <a:extLst>
              <a:ext uri="{96DAC541-7B7A-43D3-8B79-37D633B846F1}">
                <asvg:svgBlip xmlns:asvg="http://schemas.microsoft.com/office/drawing/2016/SVG/main" r:embed="rId52"/>
              </a:ext>
            </a:extLst>
          </a:blip>
        </a:buBlip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196000" indent="-4320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Tx/>
        <a:buBlip>
          <a:blip r:embed="rId51">
            <a:extLst>
              <a:ext uri="{96DAC541-7B7A-43D3-8B79-37D633B846F1}">
                <asvg:svgBlip xmlns:asvg="http://schemas.microsoft.com/office/drawing/2016/SVG/main" r:embed="rId52"/>
              </a:ext>
            </a:extLst>
          </a:blip>
        </a:buBlip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40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40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image" Target="../media/image28.jpg"/><Relationship Id="rId7" Type="http://schemas.openxmlformats.org/officeDocument/2006/relationships/image" Target="../media/image32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youtube.com/watch?v=Fct1dcZMyWs" TargetMode="External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40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40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4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4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4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AD84C2D4-A9B0-9462-48D9-81618A5E29D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9838110" cy="1903106"/>
          </a:xfrm>
        </p:spPr>
        <p:txBody>
          <a:bodyPr>
            <a:normAutofit fontScale="90000"/>
          </a:bodyPr>
          <a:lstStyle/>
          <a:p>
            <a:r>
              <a:rPr lang="en-US" dirty="0"/>
              <a:t>How I saved 80% on my Azure Data Factory Costs</a:t>
            </a:r>
            <a:endParaRPr lang="nl-BE" dirty="0"/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E47470EA-B5C1-BAB4-F649-B9DC54E6497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Koen Verbeeck – He/him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677851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624C0F6-CF24-4BA8-E8B4-BAFEFCF76B9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CA22F78-74E7-4933-2061-062EA0B61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nimize number of activities</a:t>
            </a:r>
            <a:endParaRPr lang="nl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8A37047-D2E9-CA2C-25BA-DF6F6F91ABD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30825" y="1457011"/>
            <a:ext cx="7530349" cy="5089089"/>
          </a:xfrm>
          <a:prstGeom prst="rect">
            <a:avLst/>
          </a:prstGeom>
        </p:spPr>
      </p:pic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D3A44112-E11C-252B-7D0D-A6A7A52BF194}"/>
              </a:ext>
            </a:extLst>
          </p:cNvPr>
          <p:cNvCxnSpPr>
            <a:cxnSpLocks/>
          </p:cNvCxnSpPr>
          <p:nvPr/>
        </p:nvCxnSpPr>
        <p:spPr>
          <a:xfrm>
            <a:off x="3938016" y="2865120"/>
            <a:ext cx="1970648" cy="2987040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9106F306-2230-A10A-5DA8-E8EE7463F484}"/>
              </a:ext>
            </a:extLst>
          </p:cNvPr>
          <p:cNvSpPr txBox="1"/>
          <p:nvPr/>
        </p:nvSpPr>
        <p:spPr>
          <a:xfrm>
            <a:off x="1288219" y="4001555"/>
            <a:ext cx="357783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directly refer to lookup output instead</a:t>
            </a:r>
            <a:endParaRPr lang="nl-BE" sz="2400" dirty="0">
              <a:solidFill>
                <a:srgbClr val="FF0000"/>
              </a:solidFill>
            </a:endParaRPr>
          </a:p>
        </p:txBody>
      </p:sp>
      <p:pic>
        <p:nvPicPr>
          <p:cNvPr id="2050" name="Picture 2" descr="Delete Images – Browse 213,116 Stock Photos, Vectors, and Video | Adobe  Stock">
            <a:extLst>
              <a:ext uri="{FF2B5EF4-FFF2-40B4-BE49-F238E27FC236}">
                <a16:creationId xmlns:a16="http://schemas.microsoft.com/office/drawing/2014/main" id="{0FA0A3ED-4301-BF37-C76C-2502C28D88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7745" y="1589398"/>
            <a:ext cx="1901838" cy="19018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185928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0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D193A07E-C9F1-F989-DEA2-18BA91227E5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preferably to something that doesn’t have pricing per minute</a:t>
            </a:r>
          </a:p>
          <a:p>
            <a:r>
              <a:rPr lang="en-US" dirty="0"/>
              <a:t>such as an Azure SQL DB</a:t>
            </a:r>
          </a:p>
          <a:p>
            <a:pPr lvl="1"/>
            <a:r>
              <a:rPr lang="nl-BE" dirty="0" err="1"/>
              <a:t>scale</a:t>
            </a:r>
            <a:r>
              <a:rPr lang="nl-BE" dirty="0"/>
              <a:t> up </a:t>
            </a:r>
            <a:r>
              <a:rPr lang="nl-BE" dirty="0" err="1"/>
              <a:t>before</a:t>
            </a:r>
            <a:r>
              <a:rPr lang="nl-BE" dirty="0"/>
              <a:t> ELT</a:t>
            </a:r>
          </a:p>
          <a:p>
            <a:pPr lvl="1"/>
            <a:r>
              <a:rPr lang="nl-BE" dirty="0" err="1"/>
              <a:t>scale</a:t>
            </a:r>
            <a:r>
              <a:rPr lang="nl-BE" dirty="0"/>
              <a:t> down </a:t>
            </a:r>
            <a:r>
              <a:rPr lang="nl-BE" dirty="0" err="1"/>
              <a:t>once</a:t>
            </a:r>
            <a:r>
              <a:rPr lang="nl-BE" dirty="0"/>
              <a:t> ELT is </a:t>
            </a:r>
            <a:r>
              <a:rPr lang="nl-BE" dirty="0" err="1"/>
              <a:t>done</a:t>
            </a:r>
            <a:endParaRPr lang="nl-BE" dirty="0"/>
          </a:p>
          <a:p>
            <a:pPr lvl="1"/>
            <a:endParaRPr lang="nl-BE" dirty="0"/>
          </a:p>
          <a:p>
            <a:endParaRPr lang="nl-BE" dirty="0"/>
          </a:p>
          <a:p>
            <a:r>
              <a:rPr lang="nl-BE" dirty="0"/>
              <a:t>or </a:t>
            </a:r>
            <a:r>
              <a:rPr lang="nl-BE" dirty="0" err="1"/>
              <a:t>to</a:t>
            </a:r>
            <a:r>
              <a:rPr lang="nl-BE" dirty="0"/>
              <a:t> </a:t>
            </a:r>
            <a:r>
              <a:rPr lang="nl-BE" dirty="0" err="1"/>
              <a:t>compute</a:t>
            </a:r>
            <a:r>
              <a:rPr lang="nl-BE" dirty="0"/>
              <a:t> </a:t>
            </a:r>
            <a:r>
              <a:rPr lang="nl-BE" dirty="0" err="1"/>
              <a:t>that</a:t>
            </a:r>
            <a:r>
              <a:rPr lang="nl-BE" dirty="0"/>
              <a:t> is </a:t>
            </a:r>
            <a:r>
              <a:rPr lang="nl-BE" dirty="0" err="1"/>
              <a:t>just</a:t>
            </a:r>
            <a:r>
              <a:rPr lang="nl-BE" dirty="0"/>
              <a:t> </a:t>
            </a:r>
            <a:r>
              <a:rPr lang="nl-BE" dirty="0" err="1"/>
              <a:t>cheaper</a:t>
            </a:r>
            <a:endParaRPr lang="nl-BE" dirty="0"/>
          </a:p>
          <a:p>
            <a:r>
              <a:rPr lang="nl-BE" dirty="0"/>
              <a:t>Azure </a:t>
            </a:r>
            <a:r>
              <a:rPr lang="nl-BE" dirty="0" err="1"/>
              <a:t>Functions</a:t>
            </a:r>
            <a:r>
              <a:rPr lang="nl-BE" dirty="0"/>
              <a:t> or Azure Logic Apps are </a:t>
            </a:r>
            <a:r>
              <a:rPr lang="nl-BE" dirty="0" err="1"/>
              <a:t>good</a:t>
            </a:r>
            <a:r>
              <a:rPr lang="nl-BE" dirty="0"/>
              <a:t> </a:t>
            </a:r>
            <a:r>
              <a:rPr lang="nl-BE" dirty="0" err="1"/>
              <a:t>alternatives</a:t>
            </a:r>
            <a:endParaRPr lang="nl-BE" dirty="0"/>
          </a:p>
          <a:p>
            <a:pPr lvl="1"/>
            <a:r>
              <a:rPr lang="nl-BE" dirty="0" err="1"/>
              <a:t>for</a:t>
            </a:r>
            <a:r>
              <a:rPr lang="nl-BE" dirty="0"/>
              <a:t> smaller </a:t>
            </a:r>
            <a:r>
              <a:rPr lang="nl-BE" dirty="0" err="1"/>
              <a:t>workloads</a:t>
            </a:r>
            <a:endParaRPr lang="nl-BE" dirty="0"/>
          </a:p>
          <a:p>
            <a:r>
              <a:rPr lang="nl-BE" dirty="0" err="1"/>
              <a:t>for</a:t>
            </a:r>
            <a:r>
              <a:rPr lang="nl-BE" dirty="0"/>
              <a:t> </a:t>
            </a:r>
            <a:r>
              <a:rPr lang="nl-BE" dirty="0" err="1"/>
              <a:t>bigger</a:t>
            </a:r>
            <a:r>
              <a:rPr lang="nl-BE" dirty="0"/>
              <a:t> </a:t>
            </a:r>
            <a:r>
              <a:rPr lang="nl-BE" dirty="0" err="1"/>
              <a:t>workloads</a:t>
            </a:r>
            <a:r>
              <a:rPr lang="nl-BE" dirty="0"/>
              <a:t>, </a:t>
            </a:r>
            <a:r>
              <a:rPr lang="nl-BE" dirty="0" err="1"/>
              <a:t>maybe</a:t>
            </a:r>
            <a:r>
              <a:rPr lang="nl-BE" dirty="0"/>
              <a:t> </a:t>
            </a:r>
            <a:r>
              <a:rPr lang="nl-BE" dirty="0" err="1"/>
              <a:t>consider</a:t>
            </a:r>
            <a:r>
              <a:rPr lang="nl-BE" dirty="0"/>
              <a:t> </a:t>
            </a:r>
            <a:r>
              <a:rPr lang="nl-BE" dirty="0" err="1"/>
              <a:t>using</a:t>
            </a:r>
            <a:r>
              <a:rPr lang="nl-BE" dirty="0"/>
              <a:t> a </a:t>
            </a:r>
            <a:r>
              <a:rPr lang="nl-BE" dirty="0" err="1"/>
              <a:t>self-hosted</a:t>
            </a:r>
            <a:r>
              <a:rPr lang="nl-BE" dirty="0"/>
              <a:t> IR in a VM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2337E40-4DCE-8F2C-0218-C39A7B0AD1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6757" y="500826"/>
            <a:ext cx="10367691" cy="956186"/>
          </a:xfrm>
        </p:spPr>
        <p:txBody>
          <a:bodyPr>
            <a:normAutofit/>
          </a:bodyPr>
          <a:lstStyle/>
          <a:p>
            <a:r>
              <a:rPr lang="en-US" dirty="0"/>
              <a:t>move compute to somewhere else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701416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95699167-48E6-637A-4C04-A104B455637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836757" y="1893022"/>
            <a:ext cx="7173387" cy="2670025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B6779E57-D2B5-B6A9-864B-F6159BECD8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zure Functions</a:t>
            </a:r>
            <a:endParaRPr lang="nl-BE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99913E4-1DA9-4951-AC8B-30E4F15AD934}"/>
              </a:ext>
            </a:extLst>
          </p:cNvPr>
          <p:cNvSpPr txBox="1"/>
          <p:nvPr/>
        </p:nvSpPr>
        <p:spPr>
          <a:xfrm>
            <a:off x="3134982" y="2089713"/>
            <a:ext cx="2010041" cy="2276642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  <p:pic>
        <p:nvPicPr>
          <p:cNvPr id="3074" name="Picture 2" descr="Free caution label warning illustration">
            <a:extLst>
              <a:ext uri="{FF2B5EF4-FFF2-40B4-BE49-F238E27FC236}">
                <a16:creationId xmlns:a16="http://schemas.microsoft.com/office/drawing/2014/main" id="{3FC31284-D492-510E-825A-85696CD3B68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817" b="31059"/>
          <a:stretch/>
        </p:blipFill>
        <p:spPr bwMode="auto">
          <a:xfrm>
            <a:off x="5145023" y="5694783"/>
            <a:ext cx="3644838" cy="10473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8E62B69E-FBCC-2EF7-9829-299F91808D15}"/>
              </a:ext>
            </a:extLst>
          </p:cNvPr>
          <p:cNvSpPr txBox="1"/>
          <p:nvPr/>
        </p:nvSpPr>
        <p:spPr>
          <a:xfrm>
            <a:off x="8789861" y="5756815"/>
            <a:ext cx="307459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don’t forget your dev costs</a:t>
            </a:r>
            <a:endParaRPr lang="nl-BE" sz="24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62960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A66A9FB-463B-9E25-ED20-D36959E12FD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sz="8000" dirty="0"/>
              <a:t> </a:t>
            </a:r>
            <a:br>
              <a:rPr lang="en-US" sz="16600" dirty="0"/>
            </a:br>
            <a:r>
              <a:rPr lang="en-US" sz="16600" dirty="0"/>
              <a:t>conclusion</a:t>
            </a:r>
            <a:endParaRPr lang="nl-BE" sz="16600" dirty="0"/>
          </a:p>
        </p:txBody>
      </p:sp>
    </p:spTree>
    <p:extLst>
      <p:ext uri="{BB962C8B-B14F-4D97-AF65-F5344CB8AC3E}">
        <p14:creationId xmlns:p14="http://schemas.microsoft.com/office/powerpoint/2010/main" val="1395989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9D5DC25-4BBE-0376-0A54-3ED41D1D1E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</a:t>
            </a:r>
            <a:endParaRPr lang="nl-BE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0B5AEEA-3911-E5CE-F922-71918C73232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0"/>
            <a:ext cx="10515600" cy="5400989"/>
          </a:xfrm>
        </p:spPr>
        <p:txBody>
          <a:bodyPr>
            <a:normAutofit/>
          </a:bodyPr>
          <a:lstStyle/>
          <a:p>
            <a:r>
              <a:rPr lang="en-US" dirty="0"/>
              <a:t>ADF is not a streaming service</a:t>
            </a:r>
          </a:p>
          <a:p>
            <a:r>
              <a:rPr lang="en-US" dirty="0"/>
              <a:t>you pay for each activity at least one minute</a:t>
            </a:r>
          </a:p>
          <a:p>
            <a:r>
              <a:rPr lang="en-US" dirty="0"/>
              <a:t>copy activity is the most expensive one</a:t>
            </a:r>
          </a:p>
          <a:p>
            <a:r>
              <a:rPr lang="en-US" dirty="0"/>
              <a:t>try to avoid VNET integration if it is not really needed</a:t>
            </a:r>
          </a:p>
          <a:p>
            <a:r>
              <a:rPr lang="en-US" dirty="0"/>
              <a:t>move compute to external options</a:t>
            </a:r>
          </a:p>
          <a:p>
            <a:pPr lvl="1"/>
            <a:r>
              <a:rPr lang="en-US" dirty="0"/>
              <a:t>Azure Functions</a:t>
            </a:r>
          </a:p>
          <a:p>
            <a:pPr lvl="1"/>
            <a:r>
              <a:rPr lang="en-US" dirty="0"/>
              <a:t>Azure Logic Apps</a:t>
            </a:r>
          </a:p>
          <a:p>
            <a:pPr lvl="1"/>
            <a:r>
              <a:rPr lang="en-US" dirty="0"/>
              <a:t>Databricks</a:t>
            </a:r>
          </a:p>
          <a:p>
            <a:pPr lvl="1"/>
            <a:r>
              <a:rPr lang="en-US" dirty="0"/>
              <a:t>SQL Server</a:t>
            </a:r>
          </a:p>
          <a:p>
            <a:r>
              <a:rPr lang="en-US" dirty="0"/>
              <a:t>running ADF yourself on a self-hosted IR might be cheaper</a:t>
            </a:r>
          </a:p>
          <a:p>
            <a:r>
              <a:rPr lang="en-US" dirty="0"/>
              <a:t>if you get ADF to be really cheap, you’re the most expensive part now </a:t>
            </a:r>
            <a:r>
              <a:rPr lang="en-US" dirty="0">
                <a:sym typeface="Wingdings" panose="05000000000000000000" pitchFamily="2" charset="2"/>
              </a:rPr>
              <a:t>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608050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A66A9FB-463B-9E25-ED20-D36959E12FD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sz="8000" dirty="0"/>
              <a:t> </a:t>
            </a:r>
            <a:br>
              <a:rPr lang="en-US" sz="16600" dirty="0"/>
            </a:br>
            <a:r>
              <a:rPr lang="en-US" sz="16600" dirty="0"/>
              <a:t>thank you</a:t>
            </a:r>
            <a:endParaRPr lang="nl-BE" sz="16600" dirty="0"/>
          </a:p>
        </p:txBody>
      </p:sp>
    </p:spTree>
    <p:extLst>
      <p:ext uri="{BB962C8B-B14F-4D97-AF65-F5344CB8AC3E}">
        <p14:creationId xmlns:p14="http://schemas.microsoft.com/office/powerpoint/2010/main" val="860859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5E9CC81-A8F4-4439-A4CA-3ADB2CF4BC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act</a:t>
            </a:r>
            <a:endParaRPr lang="nl-BE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8EAA10CD-9D1C-4C49-B5AE-58226636C59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5421842"/>
            <a:ext cx="2545080" cy="1026844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5D161C8D-663B-4479-82E4-47BE03A5F6F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6907" y="5276137"/>
            <a:ext cx="2289053" cy="1291369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6567CC35-AC26-4F78-A0DA-AF4C0D772EB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54186" y="5436990"/>
            <a:ext cx="3074347" cy="996547"/>
          </a:xfrm>
          <a:prstGeom prst="rect">
            <a:avLst/>
          </a:prstGeom>
        </p:spPr>
      </p:pic>
      <p:pic>
        <p:nvPicPr>
          <p:cNvPr id="1030" name="Picture 6" descr="LinkedIn logo">
            <a:extLst>
              <a:ext uri="{FF2B5EF4-FFF2-40B4-BE49-F238E27FC236}">
                <a16:creationId xmlns:a16="http://schemas.microsoft.com/office/drawing/2014/main" id="{ABD504F5-71D8-476F-9098-E5AC766435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200" y="1460513"/>
            <a:ext cx="838200" cy="838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4A89FB90-D1F7-49D7-932B-7A915FE0122D}"/>
              </a:ext>
            </a:extLst>
          </p:cNvPr>
          <p:cNvSpPr txBox="1"/>
          <p:nvPr/>
        </p:nvSpPr>
        <p:spPr>
          <a:xfrm>
            <a:off x="2028824" y="1587225"/>
            <a:ext cx="290036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0" lang="en-CA" sz="3200" b="0" i="0" u="none" strike="noStrike" kern="1200" cap="none" spc="0" normalizeH="0" baseline="0" noProof="0" dirty="0">
                <a:ln>
                  <a:noFill/>
                </a:ln>
                <a:solidFill>
                  <a:srgbClr val="0274B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en Verbeeck</a:t>
            </a:r>
          </a:p>
        </p:txBody>
      </p:sp>
      <p:pic>
        <p:nvPicPr>
          <p:cNvPr id="1032" name="Picture 8" descr="Download Twitter Logo Png Transparent Background - Logo Twitter Png PNG  Image with No Background - PNGkey.com">
            <a:extLst>
              <a:ext uri="{FF2B5EF4-FFF2-40B4-BE49-F238E27FC236}">
                <a16:creationId xmlns:a16="http://schemas.microsoft.com/office/drawing/2014/main" id="{1A0F28DB-B120-4149-A9BF-B5891541B4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6345" y="2359390"/>
            <a:ext cx="838200" cy="838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32E475E7-96DF-4E92-BDAA-A0A65DA568CE}"/>
              </a:ext>
            </a:extLst>
          </p:cNvPr>
          <p:cNvSpPr txBox="1"/>
          <p:nvPr/>
        </p:nvSpPr>
        <p:spPr>
          <a:xfrm>
            <a:off x="2028824" y="2501486"/>
            <a:ext cx="290036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0" lang="en-CA" sz="3200" b="0" i="0" u="none" strike="noStrike" kern="1200" cap="none" spc="0" normalizeH="0" baseline="0" noProof="0" dirty="0">
                <a:ln>
                  <a:noFill/>
                </a:ln>
                <a:solidFill>
                  <a:srgbClr val="00AEE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@Ko_Ver</a:t>
            </a:r>
          </a:p>
        </p:txBody>
      </p:sp>
      <p:sp>
        <p:nvSpPr>
          <p:cNvPr id="24" name="Graphic 22">
            <a:extLst>
              <a:ext uri="{FF2B5EF4-FFF2-40B4-BE49-F238E27FC236}">
                <a16:creationId xmlns:a16="http://schemas.microsoft.com/office/drawing/2014/main" id="{BFF25780-A8C4-4535-819C-7DA44AC5906F}"/>
              </a:ext>
            </a:extLst>
          </p:cNvPr>
          <p:cNvSpPr/>
          <p:nvPr/>
        </p:nvSpPr>
        <p:spPr>
          <a:xfrm>
            <a:off x="836345" y="4255852"/>
            <a:ext cx="838200" cy="739733"/>
          </a:xfrm>
          <a:custGeom>
            <a:avLst/>
            <a:gdLst>
              <a:gd name="connsiteX0" fmla="*/ 1048173 w 1144481"/>
              <a:gd name="connsiteY0" fmla="*/ 354330 h 688551"/>
              <a:gd name="connsiteX1" fmla="*/ 1144482 w 1144481"/>
              <a:gd name="connsiteY1" fmla="*/ 514138 h 688551"/>
              <a:gd name="connsiteX2" fmla="*/ 1024467 w 1144481"/>
              <a:gd name="connsiteY2" fmla="*/ 683048 h 688551"/>
              <a:gd name="connsiteX3" fmla="*/ 1000760 w 1144481"/>
              <a:gd name="connsiteY3" fmla="*/ 688552 h 688551"/>
              <a:gd name="connsiteX4" fmla="*/ 174413 w 1144481"/>
              <a:gd name="connsiteY4" fmla="*/ 688552 h 688551"/>
              <a:gd name="connsiteX5" fmla="*/ 0 w 1144481"/>
              <a:gd name="connsiteY5" fmla="*/ 495935 h 688551"/>
              <a:gd name="connsiteX6" fmla="*/ 174413 w 1144481"/>
              <a:gd name="connsiteY6" fmla="*/ 303318 h 688551"/>
              <a:gd name="connsiteX7" fmla="*/ 194310 w 1144481"/>
              <a:gd name="connsiteY7" fmla="*/ 305223 h 688551"/>
              <a:gd name="connsiteX8" fmla="*/ 327025 w 1144481"/>
              <a:gd name="connsiteY8" fmla="*/ 225213 h 688551"/>
              <a:gd name="connsiteX9" fmla="*/ 370628 w 1144481"/>
              <a:gd name="connsiteY9" fmla="*/ 232410 h 688551"/>
              <a:gd name="connsiteX10" fmla="*/ 370628 w 1144481"/>
              <a:gd name="connsiteY10" fmla="*/ 225213 h 688551"/>
              <a:gd name="connsiteX11" fmla="*/ 574040 w 1144481"/>
              <a:gd name="connsiteY11" fmla="*/ 0 h 688551"/>
              <a:gd name="connsiteX12" fmla="*/ 757555 w 1144481"/>
              <a:gd name="connsiteY12" fmla="*/ 130810 h 688551"/>
              <a:gd name="connsiteX13" fmla="*/ 853863 w 1144481"/>
              <a:gd name="connsiteY13" fmla="*/ 101812 h 688551"/>
              <a:gd name="connsiteX14" fmla="*/ 1050078 w 1144481"/>
              <a:gd name="connsiteY14" fmla="*/ 319828 h 688551"/>
              <a:gd name="connsiteX15" fmla="*/ 1048173 w 1144481"/>
              <a:gd name="connsiteY15" fmla="*/ 354330 h 688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144481" h="688551">
                <a:moveTo>
                  <a:pt x="1048173" y="354330"/>
                </a:moveTo>
                <a:cubicBezTo>
                  <a:pt x="1106382" y="381635"/>
                  <a:pt x="1144482" y="443442"/>
                  <a:pt x="1144482" y="514138"/>
                </a:cubicBezTo>
                <a:cubicBezTo>
                  <a:pt x="1144482" y="595842"/>
                  <a:pt x="1093682" y="664845"/>
                  <a:pt x="1024467" y="683048"/>
                </a:cubicBezTo>
                <a:lnTo>
                  <a:pt x="1000760" y="688552"/>
                </a:lnTo>
                <a:lnTo>
                  <a:pt x="174413" y="688552"/>
                </a:lnTo>
                <a:cubicBezTo>
                  <a:pt x="78105" y="688552"/>
                  <a:pt x="0" y="601345"/>
                  <a:pt x="0" y="495935"/>
                </a:cubicBezTo>
                <a:cubicBezTo>
                  <a:pt x="0" y="390525"/>
                  <a:pt x="78105" y="303318"/>
                  <a:pt x="174413" y="303318"/>
                </a:cubicBezTo>
                <a:cubicBezTo>
                  <a:pt x="181610" y="303318"/>
                  <a:pt x="187113" y="303318"/>
                  <a:pt x="194310" y="305223"/>
                </a:cubicBezTo>
                <a:cubicBezTo>
                  <a:pt x="223308" y="254423"/>
                  <a:pt x="272415" y="225213"/>
                  <a:pt x="327025" y="225213"/>
                </a:cubicBezTo>
                <a:cubicBezTo>
                  <a:pt x="341630" y="225213"/>
                  <a:pt x="356023" y="227118"/>
                  <a:pt x="370628" y="232410"/>
                </a:cubicBezTo>
                <a:cubicBezTo>
                  <a:pt x="370628" y="230505"/>
                  <a:pt x="370628" y="226907"/>
                  <a:pt x="370628" y="225213"/>
                </a:cubicBezTo>
                <a:cubicBezTo>
                  <a:pt x="370628" y="99907"/>
                  <a:pt x="461433" y="0"/>
                  <a:pt x="574040" y="0"/>
                </a:cubicBezTo>
                <a:cubicBezTo>
                  <a:pt x="652145" y="0"/>
                  <a:pt x="724747" y="52705"/>
                  <a:pt x="757555" y="130810"/>
                </a:cubicBezTo>
                <a:cubicBezTo>
                  <a:pt x="786553" y="112607"/>
                  <a:pt x="819362" y="101812"/>
                  <a:pt x="853863" y="101812"/>
                </a:cubicBezTo>
                <a:cubicBezTo>
                  <a:pt x="962872" y="101812"/>
                  <a:pt x="1050078" y="200025"/>
                  <a:pt x="1050078" y="319828"/>
                </a:cubicBezTo>
                <a:cubicBezTo>
                  <a:pt x="1051772" y="330835"/>
                  <a:pt x="1050078" y="341630"/>
                  <a:pt x="1048173" y="354330"/>
                </a:cubicBezTo>
                <a:close/>
              </a:path>
            </a:pathLst>
          </a:custGeom>
          <a:solidFill>
            <a:srgbClr val="00188F"/>
          </a:solidFill>
          <a:ln w="2117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D1C574BF-8FBF-4BF2-976A-76C4D9FB4ED1}"/>
              </a:ext>
            </a:extLst>
          </p:cNvPr>
          <p:cNvSpPr txBox="1"/>
          <p:nvPr/>
        </p:nvSpPr>
        <p:spPr>
          <a:xfrm>
            <a:off x="2028823" y="4330007"/>
            <a:ext cx="290036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0" lang="en-CA" sz="3200" b="0" i="0" u="none" strike="noStrike" kern="1200" cap="none" spc="0" normalizeH="0" baseline="0" noProof="0" dirty="0">
                <a:ln>
                  <a:noFill/>
                </a:ln>
                <a:solidFill>
                  <a:srgbClr val="00188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QLkover.com</a:t>
            </a:r>
          </a:p>
        </p:txBody>
      </p:sp>
      <p:pic>
        <p:nvPicPr>
          <p:cNvPr id="3" name="Picture 2" descr="A picture containing text, book&#10;&#10;Description automatically generated">
            <a:extLst>
              <a:ext uri="{FF2B5EF4-FFF2-40B4-BE49-F238E27FC236}">
                <a16:creationId xmlns:a16="http://schemas.microsoft.com/office/drawing/2014/main" id="{D2C93DC1-82B1-57AC-8ADE-65CBBC98F13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6496" y="3957637"/>
            <a:ext cx="2900363" cy="290036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6C335CD5-3FD7-F97A-67F8-48E48E5D262D}"/>
              </a:ext>
            </a:extLst>
          </p:cNvPr>
          <p:cNvSpPr txBox="1"/>
          <p:nvPr/>
        </p:nvSpPr>
        <p:spPr>
          <a:xfrm>
            <a:off x="2028822" y="3415747"/>
            <a:ext cx="523399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3200" b="0" i="0" dirty="0">
                <a:effectLst/>
                <a:latin typeface="mastodon-font-sans-serif"/>
              </a:rPr>
              <a:t>@koen@dataplatform.social</a:t>
            </a:r>
            <a:endParaRPr kumimoji="0" lang="en-CA" sz="3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5" name="Picture 2" descr="Mastodon icon in Windows 10 Style">
            <a:extLst>
              <a:ext uri="{FF2B5EF4-FFF2-40B4-BE49-F238E27FC236}">
                <a16:creationId xmlns:a16="http://schemas.microsoft.com/office/drawing/2014/main" id="{C517FCBF-BD3E-25F5-3436-70330B0702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453" y="3136932"/>
            <a:ext cx="1121984" cy="11219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65279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F7F3778-A224-97A9-5AC5-33820C81C8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sts in ADF</a:t>
            </a:r>
            <a:endParaRPr lang="nl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B223160-7E07-846F-1955-F8B0CEC2C7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43159" y="1182387"/>
            <a:ext cx="9586791" cy="5387807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5E41CC24-6F99-AE3C-4F0E-D4F909AC8E39}"/>
              </a:ext>
            </a:extLst>
          </p:cNvPr>
          <p:cNvSpPr txBox="1"/>
          <p:nvPr/>
        </p:nvSpPr>
        <p:spPr>
          <a:xfrm>
            <a:off x="6400800" y="123610"/>
            <a:ext cx="5791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hlinkClick r:id="rId3"/>
              </a:rPr>
              <a:t>https://youtube.com/watch?v=Fct1dcZMyW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9543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0A925C7F-DC41-244E-985A-B5DACDDC487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7200" dirty="0"/>
              <a:t>ALL ACTIVITIES ARE PRO-RATED BY THE </a:t>
            </a:r>
            <a:r>
              <a:rPr lang="en-US" sz="7200" b="1" dirty="0"/>
              <a:t>MINUTE</a:t>
            </a:r>
          </a:p>
          <a:p>
            <a:pPr marL="0" indent="0">
              <a:buNone/>
            </a:pPr>
            <a:r>
              <a:rPr lang="en-US" sz="7200" dirty="0"/>
              <a:t>AND ROUNDED </a:t>
            </a:r>
            <a:r>
              <a:rPr lang="en-US" sz="7200" b="1" dirty="0"/>
              <a:t>UP</a:t>
            </a:r>
            <a:endParaRPr lang="nl-BE" sz="7200" b="1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4118D94C-15E2-B492-548E-21D591FF2A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portant to remember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964894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73147B3-5414-55BA-D9BE-E27BF1840A5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AE1C2F0-6866-4384-C10C-534A7F5984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at’s 2 minutes right there</a:t>
            </a:r>
            <a:endParaRPr lang="nl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3586598-389D-2950-61C3-3033225F8D5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92037" y="2953438"/>
            <a:ext cx="7407925" cy="16429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9220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CE87B6-1310-0393-AF6C-DD14C2171F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SIS vs ADF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680A824-28C3-58B7-51BE-8B8F95791A8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0"/>
            <a:ext cx="5070231" cy="5400989"/>
          </a:xfrm>
        </p:spPr>
        <p:txBody>
          <a:bodyPr>
            <a:normAutofit/>
          </a:bodyPr>
          <a:lstStyle/>
          <a:p>
            <a:r>
              <a:rPr lang="en-US" dirty="0"/>
              <a:t>SSIS in on-premises</a:t>
            </a:r>
          </a:p>
          <a:p>
            <a:r>
              <a:rPr lang="en-US" dirty="0"/>
              <a:t>many up-front costs</a:t>
            </a:r>
          </a:p>
          <a:p>
            <a:pPr lvl="1"/>
            <a:r>
              <a:rPr lang="en-US" dirty="0"/>
              <a:t>server</a:t>
            </a:r>
          </a:p>
          <a:p>
            <a:pPr lvl="1"/>
            <a:r>
              <a:rPr lang="en-US" dirty="0"/>
              <a:t>license costs</a:t>
            </a:r>
          </a:p>
          <a:p>
            <a:pPr lvl="1"/>
            <a:r>
              <a:rPr lang="en-US" dirty="0"/>
              <a:t>cost of installing / configuring /</a:t>
            </a:r>
            <a:br>
              <a:rPr lang="en-US" dirty="0"/>
            </a:br>
            <a:r>
              <a:rPr lang="en-US" dirty="0"/>
              <a:t>capex</a:t>
            </a:r>
          </a:p>
          <a:p>
            <a:r>
              <a:rPr lang="en-US" dirty="0"/>
              <a:t>not many running costs</a:t>
            </a:r>
          </a:p>
          <a:p>
            <a:pPr lvl="1"/>
            <a:r>
              <a:rPr lang="en-US" dirty="0"/>
              <a:t>maintenance</a:t>
            </a:r>
          </a:p>
          <a:p>
            <a:pPr lvl="1"/>
            <a:r>
              <a:rPr lang="en-US" dirty="0"/>
              <a:t>development</a:t>
            </a:r>
          </a:p>
          <a:p>
            <a:pPr lvl="1"/>
            <a:r>
              <a:rPr lang="en-US" dirty="0"/>
              <a:t>“electricity”</a:t>
            </a:r>
          </a:p>
          <a:p>
            <a:r>
              <a:rPr lang="en-US" dirty="0"/>
              <a:t>it doesn’t matter how many packages you run</a:t>
            </a:r>
          </a:p>
          <a:p>
            <a:pPr lvl="1"/>
            <a:r>
              <a:rPr lang="en-US" dirty="0"/>
              <a:t>or how many tasks there are in a package</a:t>
            </a:r>
            <a:endParaRPr lang="nl-BE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9DD6EBE-E982-E68A-CC6C-3F6F043CC2E3}"/>
              </a:ext>
            </a:extLst>
          </p:cNvPr>
          <p:cNvSpPr>
            <a:spLocks noGrp="1"/>
          </p:cNvSpPr>
          <p:nvPr>
            <p:ph idx="10"/>
          </p:nvPr>
        </p:nvSpPr>
        <p:spPr/>
        <p:txBody>
          <a:bodyPr/>
          <a:lstStyle/>
          <a:p>
            <a:r>
              <a:rPr lang="en-US" dirty="0"/>
              <a:t>ADF is in the cloud</a:t>
            </a:r>
          </a:p>
          <a:p>
            <a:r>
              <a:rPr lang="en-US" dirty="0"/>
              <a:t>SaaS: no up-front costs</a:t>
            </a:r>
          </a:p>
          <a:p>
            <a:pPr lvl="1"/>
            <a:r>
              <a:rPr lang="en-US" dirty="0"/>
              <a:t>maybe a server for an on-premises integration runtime (gateway)</a:t>
            </a:r>
          </a:p>
          <a:p>
            <a:r>
              <a:rPr lang="en-US" dirty="0"/>
              <a:t>many running costs</a:t>
            </a:r>
          </a:p>
          <a:p>
            <a:pPr lvl="1"/>
            <a:r>
              <a:rPr lang="en-US" dirty="0"/>
              <a:t>mostly compute costs per minute</a:t>
            </a:r>
          </a:p>
          <a:p>
            <a:pPr lvl="1"/>
            <a:r>
              <a:rPr lang="en-US" dirty="0"/>
              <a:t>development</a:t>
            </a:r>
          </a:p>
          <a:p>
            <a:r>
              <a:rPr lang="en-US" dirty="0"/>
              <a:t>the number of activities or pipelines has a significant impact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644694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8557147-512F-08EE-F1A7-0E77A96220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</a:t>
            </a:r>
            <a:endParaRPr lang="nl-B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2B17515-57BD-2EEA-21F2-5FF4FC5FC84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32361" y="1257734"/>
            <a:ext cx="7232007" cy="4938188"/>
          </a:xfrm>
          <a:prstGeom prst="rect">
            <a:avLst/>
          </a:prstGeom>
        </p:spPr>
      </p:pic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3EEA4157-0914-CF43-360C-BF07D884960B}"/>
              </a:ext>
            </a:extLst>
          </p:cNvPr>
          <p:cNvCxnSpPr>
            <a:cxnSpLocks/>
          </p:cNvCxnSpPr>
          <p:nvPr/>
        </p:nvCxnSpPr>
        <p:spPr>
          <a:xfrm flipH="1">
            <a:off x="6795689" y="4025403"/>
            <a:ext cx="2110300" cy="1333500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D5AE62BF-777C-B1B1-DEED-286E2FF612F8}"/>
              </a:ext>
            </a:extLst>
          </p:cNvPr>
          <p:cNvSpPr txBox="1"/>
          <p:nvPr/>
        </p:nvSpPr>
        <p:spPr>
          <a:xfrm>
            <a:off x="8812519" y="3194406"/>
            <a:ext cx="357783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2 minutes and 23 seconds runtime</a:t>
            </a:r>
            <a:endParaRPr lang="nl-BE" sz="2400" dirty="0">
              <a:solidFill>
                <a:srgbClr val="FF0000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42702DF-EE9F-1988-3458-B0195071820C}"/>
              </a:ext>
            </a:extLst>
          </p:cNvPr>
          <p:cNvSpPr txBox="1"/>
          <p:nvPr/>
        </p:nvSpPr>
        <p:spPr>
          <a:xfrm>
            <a:off x="6134215" y="5019178"/>
            <a:ext cx="661474" cy="1176744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4137338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19EA46B-5D6C-4A93-AA53-C2C22BA17B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</a:t>
            </a:r>
            <a:endParaRPr lang="nl-B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530768E-D85A-923E-FC87-BBD292A60F4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9047" y="1572818"/>
            <a:ext cx="6506316" cy="2985251"/>
          </a:xfrm>
          <a:prstGeom prst="rect">
            <a:avLst/>
          </a:prstGeom>
        </p:spPr>
      </p:pic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0967089D-10DF-6CE4-ED61-50CA75F2F7C2}"/>
              </a:ext>
            </a:extLst>
          </p:cNvPr>
          <p:cNvCxnSpPr>
            <a:cxnSpLocks/>
          </p:cNvCxnSpPr>
          <p:nvPr/>
        </p:nvCxnSpPr>
        <p:spPr>
          <a:xfrm flipV="1">
            <a:off x="2922252" y="4198919"/>
            <a:ext cx="1343025" cy="765175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63FFC84B-0E9C-02F2-8FA5-6AD07DFF5C7F}"/>
              </a:ext>
            </a:extLst>
          </p:cNvPr>
          <p:cNvSpPr txBox="1"/>
          <p:nvPr/>
        </p:nvSpPr>
        <p:spPr>
          <a:xfrm>
            <a:off x="1466706" y="4842154"/>
            <a:ext cx="35778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1 minute</a:t>
            </a:r>
            <a:endParaRPr lang="nl-BE" sz="2400" dirty="0">
              <a:solidFill>
                <a:srgbClr val="FF0000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6BC08D7-2592-17A3-2988-E6250F07C5E3}"/>
              </a:ext>
            </a:extLst>
          </p:cNvPr>
          <p:cNvSpPr txBox="1"/>
          <p:nvPr/>
        </p:nvSpPr>
        <p:spPr>
          <a:xfrm>
            <a:off x="4265278" y="3998893"/>
            <a:ext cx="476250" cy="243293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8171392-09FE-8530-220A-A40FD4597DA3}"/>
              </a:ext>
            </a:extLst>
          </p:cNvPr>
          <p:cNvSpPr txBox="1"/>
          <p:nvPr/>
        </p:nvSpPr>
        <p:spPr>
          <a:xfrm>
            <a:off x="4265277" y="4256878"/>
            <a:ext cx="476250" cy="243293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884A7BDC-2C10-A21C-6A1B-492A794A9CA6}"/>
              </a:ext>
            </a:extLst>
          </p:cNvPr>
          <p:cNvCxnSpPr>
            <a:cxnSpLocks/>
          </p:cNvCxnSpPr>
          <p:nvPr/>
        </p:nvCxnSpPr>
        <p:spPr>
          <a:xfrm flipV="1">
            <a:off x="2922252" y="4529494"/>
            <a:ext cx="1343025" cy="765175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31150CB8-E4C7-DBDE-F2FA-83913AF371ED}"/>
              </a:ext>
            </a:extLst>
          </p:cNvPr>
          <p:cNvSpPr txBox="1"/>
          <p:nvPr/>
        </p:nvSpPr>
        <p:spPr>
          <a:xfrm>
            <a:off x="1466706" y="5201304"/>
            <a:ext cx="19222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2 minutes</a:t>
            </a:r>
            <a:endParaRPr lang="nl-BE" sz="2400" dirty="0">
              <a:solidFill>
                <a:srgbClr val="FF0000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3D5EF3A-2647-8295-0394-EE0DC4DE5781}"/>
              </a:ext>
            </a:extLst>
          </p:cNvPr>
          <p:cNvSpPr txBox="1"/>
          <p:nvPr/>
        </p:nvSpPr>
        <p:spPr>
          <a:xfrm>
            <a:off x="7275176" y="818752"/>
            <a:ext cx="4695825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Orchestration (Azure-IR): $0.001/run</a:t>
            </a:r>
          </a:p>
          <a:p>
            <a:endParaRPr lang="en-US" dirty="0"/>
          </a:p>
          <a:p>
            <a:r>
              <a:rPr lang="en-US" dirty="0"/>
              <a:t>Pipeline (Azure-IR): $0.005/hour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r>
              <a:rPr lang="en-US" dirty="0">
                <a:sym typeface="Wingdings" panose="05000000000000000000" pitchFamily="2" charset="2"/>
              </a:rPr>
              <a:t>$0,0000835/run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endParaRPr lang="en-US" dirty="0">
              <a:sym typeface="Wingdings" panose="05000000000000000000" pitchFamily="2" charset="2"/>
            </a:endParaRPr>
          </a:p>
          <a:p>
            <a:r>
              <a:rPr lang="en-US" dirty="0">
                <a:sym typeface="Wingdings" panose="05000000000000000000" pitchFamily="2" charset="2"/>
              </a:rPr>
              <a:t>External (Azure-IR): $0.00025/hour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r>
              <a:rPr lang="en-US" dirty="0">
                <a:sym typeface="Wingdings" panose="05000000000000000000" pitchFamily="2" charset="2"/>
              </a:rPr>
              <a:t>$0,000008325/run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endParaRPr lang="en-US" dirty="0">
              <a:sym typeface="Wingdings" panose="05000000000000000000" pitchFamily="2" charset="2"/>
            </a:endParaRPr>
          </a:p>
          <a:p>
            <a:pPr marL="285750" indent="-285750">
              <a:buFont typeface="Wingdings" panose="05000000000000000000" pitchFamily="2" charset="2"/>
              <a:buChar char="à"/>
            </a:pPr>
            <a:endParaRPr lang="en-US" dirty="0">
              <a:sym typeface="Wingdings" panose="05000000000000000000" pitchFamily="2" charset="2"/>
            </a:endParaRPr>
          </a:p>
          <a:p>
            <a:pPr marL="285750" indent="-285750">
              <a:buFont typeface="Wingdings" panose="05000000000000000000" pitchFamily="2" charset="2"/>
              <a:buChar char="à"/>
            </a:pPr>
            <a:endParaRPr lang="en-US" dirty="0">
              <a:sym typeface="Wingdings" panose="05000000000000000000" pitchFamily="2" charset="2"/>
            </a:endParaRPr>
          </a:p>
          <a:p>
            <a:pPr marL="285750" indent="-285750">
              <a:buFont typeface="Wingdings" panose="05000000000000000000" pitchFamily="2" charset="2"/>
              <a:buChar char="à"/>
            </a:pPr>
            <a:endParaRPr lang="en-US" dirty="0">
              <a:sym typeface="Wingdings" panose="05000000000000000000" pitchFamily="2" charset="2"/>
            </a:endParaRPr>
          </a:p>
          <a:p>
            <a:pPr marL="285750" indent="-285750">
              <a:buFont typeface="Wingdings" panose="05000000000000000000" pitchFamily="2" charset="2"/>
              <a:buChar char="à"/>
            </a:pPr>
            <a:endParaRPr lang="en-US" dirty="0">
              <a:sym typeface="Wingdings" panose="05000000000000000000" pitchFamily="2" charset="2"/>
            </a:endParaRPr>
          </a:p>
          <a:p>
            <a:r>
              <a:rPr lang="en-US" dirty="0">
                <a:sym typeface="Wingdings" panose="05000000000000000000" pitchFamily="2" charset="2"/>
              </a:rPr>
              <a:t>Data Movement (Azure-IR): $0,25/hour</a:t>
            </a:r>
          </a:p>
          <a:p>
            <a:r>
              <a:rPr lang="en-US" dirty="0">
                <a:sym typeface="Wingdings" panose="05000000000000000000" pitchFamily="2" charset="2"/>
              </a:rPr>
              <a:t> 2 * 1.6667 * $0.25 = $0,83335/run</a:t>
            </a:r>
          </a:p>
          <a:p>
            <a:endParaRPr lang="en-US" dirty="0">
              <a:sym typeface="Wingdings" panose="05000000000000000000" pitchFamily="2" charset="2"/>
            </a:endParaRPr>
          </a:p>
          <a:p>
            <a:r>
              <a:rPr lang="en-US" dirty="0">
                <a:solidFill>
                  <a:srgbClr val="00188F"/>
                </a:solidFill>
                <a:sym typeface="Wingdings" panose="05000000000000000000" pitchFamily="2" charset="2"/>
              </a:rPr>
              <a:t>$0,834441825 / run</a:t>
            </a:r>
          </a:p>
          <a:p>
            <a:r>
              <a:rPr lang="en-US" dirty="0">
                <a:solidFill>
                  <a:srgbClr val="00188F"/>
                </a:solidFill>
                <a:sym typeface="Wingdings" panose="05000000000000000000" pitchFamily="2" charset="2"/>
              </a:rPr>
              <a:t>once every day:        $25.03</a:t>
            </a:r>
          </a:p>
          <a:p>
            <a:r>
              <a:rPr lang="en-US" dirty="0">
                <a:solidFill>
                  <a:srgbClr val="00188F"/>
                </a:solidFill>
                <a:sym typeface="Wingdings" panose="05000000000000000000" pitchFamily="2" charset="2"/>
              </a:rPr>
              <a:t>once every hour:     $600.80</a:t>
            </a:r>
          </a:p>
          <a:p>
            <a:r>
              <a:rPr lang="en-US" dirty="0">
                <a:solidFill>
                  <a:srgbClr val="00188F"/>
                </a:solidFill>
                <a:sym typeface="Wingdings" panose="05000000000000000000" pitchFamily="2" charset="2"/>
              </a:rPr>
              <a:t>once every 5 min: </a:t>
            </a:r>
            <a:r>
              <a:rPr lang="en-US" sz="1100" dirty="0">
                <a:solidFill>
                  <a:srgbClr val="00188F"/>
                </a:solidFill>
                <a:sym typeface="Wingdings" panose="05000000000000000000" pitchFamily="2" charset="2"/>
              </a:rPr>
              <a:t> </a:t>
            </a:r>
            <a:r>
              <a:rPr lang="en-US" dirty="0">
                <a:solidFill>
                  <a:srgbClr val="00188F"/>
                </a:solidFill>
                <a:sym typeface="Wingdings" panose="05000000000000000000" pitchFamily="2" charset="2"/>
              </a:rPr>
              <a:t>$7209.58</a:t>
            </a:r>
          </a:p>
          <a:p>
            <a:endParaRPr lang="nl-BE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1F0BA46-46FA-36F3-638D-757C054E5973}"/>
              </a:ext>
            </a:extLst>
          </p:cNvPr>
          <p:cNvSpPr txBox="1"/>
          <p:nvPr/>
        </p:nvSpPr>
        <p:spPr>
          <a:xfrm>
            <a:off x="4265277" y="3733593"/>
            <a:ext cx="476250" cy="243293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8C46554C-59B5-0201-2FBE-ED6EA27F4017}"/>
              </a:ext>
            </a:extLst>
          </p:cNvPr>
          <p:cNvCxnSpPr>
            <a:cxnSpLocks/>
          </p:cNvCxnSpPr>
          <p:nvPr/>
        </p:nvCxnSpPr>
        <p:spPr>
          <a:xfrm flipH="1" flipV="1">
            <a:off x="4741527" y="3855239"/>
            <a:ext cx="866775" cy="1056842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73D5A581-C6C7-8BA5-07B5-F29BDE85F2D9}"/>
              </a:ext>
            </a:extLst>
          </p:cNvPr>
          <p:cNvSpPr txBox="1"/>
          <p:nvPr/>
        </p:nvSpPr>
        <p:spPr>
          <a:xfrm>
            <a:off x="4896211" y="4918806"/>
            <a:ext cx="217894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100 minutes!</a:t>
            </a:r>
            <a:endParaRPr lang="nl-BE" sz="2400" dirty="0">
              <a:solidFill>
                <a:srgbClr val="FF0000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7C8BA570-9D6C-D37F-A001-4EAFBA8A15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86223" y="3023807"/>
            <a:ext cx="4427604" cy="823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96433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11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11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6" fill="hold">
                      <p:stCondLst>
                        <p:cond delay="indefinite"/>
                      </p:stCondLst>
                      <p:childTnLst>
                        <p:par>
                          <p:cTn id="77" fill="hold">
                            <p:stCondLst>
                              <p:cond delay="0"/>
                            </p:stCondLst>
                            <p:childTnLst>
                              <p:par>
                                <p:cTn id="7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11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1" fill="hold">
                      <p:stCondLst>
                        <p:cond delay="indefinite"/>
                      </p:stCondLst>
                      <p:childTnLst>
                        <p:par>
                          <p:cTn id="82" fill="hold">
                            <p:stCondLst>
                              <p:cond delay="0"/>
                            </p:stCondLst>
                            <p:childTnLst>
                              <p:par>
                                <p:cTn id="8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11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6" fill="hold">
                      <p:stCondLst>
                        <p:cond delay="indefinite"/>
                      </p:stCondLst>
                      <p:childTnLst>
                        <p:par>
                          <p:cTn id="87" fill="hold">
                            <p:stCondLst>
                              <p:cond delay="0"/>
                            </p:stCondLst>
                            <p:childTnLst>
                              <p:par>
                                <p:cTn id="8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11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1" fill="hold">
                      <p:stCondLst>
                        <p:cond delay="indefinite"/>
                      </p:stCondLst>
                      <p:childTnLst>
                        <p:par>
                          <p:cTn id="92" fill="hold">
                            <p:stCondLst>
                              <p:cond delay="0"/>
                            </p:stCondLst>
                            <p:childTnLst>
                              <p:par>
                                <p:cTn id="9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5" dur="500"/>
                                        <p:tgtEl>
                                          <p:spTgt spid="11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 animBg="1"/>
      <p:bldP spid="8" grpId="0" animBg="1"/>
      <p:bldP spid="10" grpId="0"/>
      <p:bldP spid="12" grpId="0" animBg="1"/>
      <p:bldP spid="14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4D4E6E3-DCC9-C9F2-545F-4B2392BB73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6757" y="500826"/>
            <a:ext cx="11087019" cy="956186"/>
          </a:xfrm>
        </p:spPr>
        <p:txBody>
          <a:bodyPr>
            <a:normAutofit/>
          </a:bodyPr>
          <a:lstStyle/>
          <a:p>
            <a:r>
              <a:rPr lang="en-US" dirty="0"/>
              <a:t>50% cost saving with one single config</a:t>
            </a:r>
            <a:endParaRPr lang="nl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C0BCE96-1F54-506D-22C5-5D31E531CCA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7714" y="1767528"/>
            <a:ext cx="10896571" cy="4098918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7585AD1C-5DFD-B97F-8917-59665A4BEF31}"/>
              </a:ext>
            </a:extLst>
          </p:cNvPr>
          <p:cNvSpPr txBox="1"/>
          <p:nvPr/>
        </p:nvSpPr>
        <p:spPr>
          <a:xfrm>
            <a:off x="3293479" y="3718559"/>
            <a:ext cx="437274" cy="341377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521530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E Template">
  <a:themeElements>
    <a:clrScheme name="AE">
      <a:dk1>
        <a:sysClr val="windowText" lastClr="000000"/>
      </a:dk1>
      <a:lt1>
        <a:sysClr val="window" lastClr="FFFFFF"/>
      </a:lt1>
      <a:dk2>
        <a:srgbClr val="7F7F7F"/>
      </a:dk2>
      <a:lt2>
        <a:srgbClr val="F2F2F2"/>
      </a:lt2>
      <a:accent1>
        <a:srgbClr val="FF8C00"/>
      </a:accent1>
      <a:accent2>
        <a:srgbClr val="FF4B28"/>
      </a:accent2>
      <a:accent3>
        <a:srgbClr val="FFBF09"/>
      </a:accent3>
      <a:accent4>
        <a:srgbClr val="D20046"/>
      </a:accent4>
      <a:accent5>
        <a:srgbClr val="71012E"/>
      </a:accent5>
      <a:accent6>
        <a:srgbClr val="000000"/>
      </a:accent6>
      <a:hlink>
        <a:srgbClr val="FF8C00"/>
      </a:hlink>
      <a:folHlink>
        <a:srgbClr val="FF4B28"/>
      </a:folHlink>
    </a:clrScheme>
    <a:fontScheme name="AE">
      <a:majorFont>
        <a:latin typeface="Century Gothic Bold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E_PPT_Template_Final" id="{8A8A7240-7B30-1E45-84D0-435844989B9B}" vid="{FD755898-5489-C44C-BEE6-2C280AB2DFB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ass-summit-2022-speaker-template</Template>
  <TotalTime>5113</TotalTime>
  <Words>409</Words>
  <Application>Microsoft Office PowerPoint</Application>
  <PresentationFormat>Widescreen</PresentationFormat>
  <Paragraphs>87</Paragraphs>
  <Slides>1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4" baseType="lpstr">
      <vt:lpstr>Arial</vt:lpstr>
      <vt:lpstr>Calibri</vt:lpstr>
      <vt:lpstr>Century Gothic</vt:lpstr>
      <vt:lpstr>Century Gothic Bold</vt:lpstr>
      <vt:lpstr>IBM Plex Sans</vt:lpstr>
      <vt:lpstr>mastodon-font-sans-serif</vt:lpstr>
      <vt:lpstr>Wingdings</vt:lpstr>
      <vt:lpstr>AE Template</vt:lpstr>
      <vt:lpstr>think-cell Slide</vt:lpstr>
      <vt:lpstr>How I saved 80% on my Azure Data Factory Costs</vt:lpstr>
      <vt:lpstr>contact</vt:lpstr>
      <vt:lpstr>costs in ADF</vt:lpstr>
      <vt:lpstr>important to remember</vt:lpstr>
      <vt:lpstr>that’s 2 minutes right there</vt:lpstr>
      <vt:lpstr>SSIS vs ADF</vt:lpstr>
      <vt:lpstr>example</vt:lpstr>
      <vt:lpstr>example</vt:lpstr>
      <vt:lpstr>50% cost saving with one single config</vt:lpstr>
      <vt:lpstr>minimize number of activities</vt:lpstr>
      <vt:lpstr>move compute to somewhere else</vt:lpstr>
      <vt:lpstr>Azure Functions</vt:lpstr>
      <vt:lpstr>  conclusion</vt:lpstr>
      <vt:lpstr>conclusion</vt:lpstr>
      <vt:lpstr>  thank you</vt:lpstr>
    </vt:vector>
  </TitlesOfParts>
  <Company>A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igrate Your SSIS Skills to Azure Data Factory</dc:title>
  <dc:creator>Koen Verbeeck</dc:creator>
  <cp:lastModifiedBy>Koen Verbeeck</cp:lastModifiedBy>
  <cp:revision>9</cp:revision>
  <dcterms:created xsi:type="dcterms:W3CDTF">2022-08-23T10:53:58Z</dcterms:created>
  <dcterms:modified xsi:type="dcterms:W3CDTF">2023-12-12T17:15:30Z</dcterms:modified>
</cp:coreProperties>
</file>